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890" r:id="rId4"/>
  </p:sldMasterIdLst>
  <p:notesMasterIdLst>
    <p:notesMasterId r:id="rId7"/>
  </p:notesMasterIdLst>
  <p:handoutMasterIdLst>
    <p:handoutMasterId r:id="rId8"/>
  </p:handoutMasterIdLst>
  <p:sldIdLst>
    <p:sldId id="5239" r:id="rId5"/>
    <p:sldId id="5238" r:id="rId6"/>
  </p:sldIdLst>
  <p:sldSz cx="9906000" cy="6858000" type="A4"/>
  <p:notesSz cx="7104063" cy="10234613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既定のセクション" id="{55EE4978-646A-44BF-8321-58466ACF4D42}">
          <p14:sldIdLst>
            <p14:sldId id="5239"/>
            <p14:sldId id="5238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4133" userDrawn="1">
          <p15:clr>
            <a:srgbClr val="A4A3A4"/>
          </p15:clr>
        </p15:guide>
        <p15:guide id="7" orient="horz" pos="2319" userDrawn="1">
          <p15:clr>
            <a:srgbClr val="A4A3A4"/>
          </p15:clr>
        </p15:guide>
        <p15:guide id="10" pos="6046" userDrawn="1">
          <p15:clr>
            <a:srgbClr val="A4A3A4"/>
          </p15:clr>
        </p15:guide>
        <p15:guide id="11" pos="3120">
          <p15:clr>
            <a:srgbClr val="A4A3A4"/>
          </p15:clr>
        </p15:guide>
        <p15:guide id="13" pos="172" userDrawn="1">
          <p15:clr>
            <a:srgbClr val="A4A3A4"/>
          </p15:clr>
        </p15:guide>
        <p15:guide id="14" orient="horz" pos="55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  <p188:author id="{942AD316-591C-5517-45F5-6406BD62CA4A}" name="Takuma Nara" initials="TN" userId="S::takuma.nara@sipartners.org::e4a51a0b-44d8-45b6-8c48-46b732523fde" providerId="AD"/>
  <p188:author id="{0DC1F834-9E27-CCC6-A1E1-1F32341E4898}" name="shohei.sho.tada@gmail.com" initials="sh" userId="S::urn:spo:guest#shohei.sho.tada@gmail.com::" providerId="AD"/>
  <p188:author id="{185E2EBA-D2C2-1797-43A1-1C6D975856CA}" name="Sho Imamura" initials="SI" userId="S::sho.imamura@sipartners.org::08a52ccb-af14-49e7-91e2-78c309816a53" providerId="AD"/>
  <p188:author id="{F671D6C5-EEE2-D6EE-80A3-8393221F53F5}" name="多田　翔平" initials="多田　翔平" userId="S::a8121165@aoyama.jp::f8767b27-2c80-4c75-9b13-bcf9036c8e4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2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CECFF"/>
    <a:srgbClr val="EDDAEE"/>
    <a:srgbClr val="FF3300"/>
    <a:srgbClr val="ED7D31"/>
    <a:srgbClr val="0070C0"/>
    <a:srgbClr val="53548A"/>
    <a:srgbClr val="63647F"/>
    <a:srgbClr val="00A1DE"/>
    <a:srgbClr val="4A7E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502AB6C-2530-035F-4B4B-6398BE02E197}" v="199" dt="2026-02-18T23:58:35.924"/>
    <p1510:client id="{7F8F75AF-F1D8-FBD9-0B98-AA97CEA8C4AE}" v="6" dt="2026-02-18T02:41:24.707"/>
    <p1510:client id="{A6401734-52AC-A129-8641-B5E54CD1BB8F}" v="340" dt="2026-02-19T07:12:56.63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テーマ スタイル 1 - アクセント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42" autoAdjust="0"/>
  </p:normalViewPr>
  <p:slideViewPr>
    <p:cSldViewPr snapToGrid="0">
      <p:cViewPr varScale="1">
        <p:scale>
          <a:sx n="99" d="100"/>
          <a:sy n="99" d="100"/>
        </p:scale>
        <p:origin x="672" y="60"/>
      </p:cViewPr>
      <p:guideLst>
        <p:guide orient="horz" pos="4133"/>
        <p:guide orient="horz" pos="2319"/>
        <p:guide pos="6046"/>
        <p:guide pos="3120"/>
        <p:guide pos="172"/>
        <p:guide orient="horz" pos="55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223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ki Watanabe" userId="S::saki.watanabe@sipartners.org::f601040c-51b1-4f21-bc4a-7292b43ccd49" providerId="AD" clId="Web-{0502AB6C-2530-035F-4B4B-6398BE02E197}"/>
    <pc:docChg chg="addSld modSld sldOrd modSection">
      <pc:chgData name="Saki Watanabe" userId="S::saki.watanabe@sipartners.org::f601040c-51b1-4f21-bc4a-7292b43ccd49" providerId="AD" clId="Web-{0502AB6C-2530-035F-4B4B-6398BE02E197}" dt="2026-02-18T23:58:35.924" v="191" actId="1076"/>
      <pc:docMkLst>
        <pc:docMk/>
      </pc:docMkLst>
      <pc:sldChg chg="addSp delSp modSp">
        <pc:chgData name="Saki Watanabe" userId="S::saki.watanabe@sipartners.org::f601040c-51b1-4f21-bc4a-7292b43ccd49" providerId="AD" clId="Web-{0502AB6C-2530-035F-4B4B-6398BE02E197}" dt="2026-02-18T23:58:35.924" v="191" actId="1076"/>
        <pc:sldMkLst>
          <pc:docMk/>
          <pc:sldMk cId="4278864824" sldId="5237"/>
        </pc:sldMkLst>
        <pc:spChg chg="mod">
          <ac:chgData name="Saki Watanabe" userId="S::saki.watanabe@sipartners.org::f601040c-51b1-4f21-bc4a-7292b43ccd49" providerId="AD" clId="Web-{0502AB6C-2530-035F-4B4B-6398BE02E197}" dt="2026-02-18T23:54:53.147" v="117" actId="1076"/>
          <ac:spMkLst>
            <pc:docMk/>
            <pc:sldMk cId="4278864824" sldId="5237"/>
            <ac:spMk id="3" creationId="{DB0A4D93-66FE-3D6A-EE3E-54927407E179}"/>
          </ac:spMkLst>
        </pc:spChg>
        <pc:spChg chg="mod">
          <ac:chgData name="Saki Watanabe" userId="S::saki.watanabe@sipartners.org::f601040c-51b1-4f21-bc4a-7292b43ccd49" providerId="AD" clId="Web-{0502AB6C-2530-035F-4B4B-6398BE02E197}" dt="2026-02-18T23:55:00.616" v="120" actId="1076"/>
          <ac:spMkLst>
            <pc:docMk/>
            <pc:sldMk cId="4278864824" sldId="5237"/>
            <ac:spMk id="6" creationId="{462D7B02-6EA4-DCE9-9FFB-3481860D3620}"/>
          </ac:spMkLst>
        </pc:spChg>
        <pc:spChg chg="add del">
          <ac:chgData name="Saki Watanabe" userId="S::saki.watanabe@sipartners.org::f601040c-51b1-4f21-bc4a-7292b43ccd49" providerId="AD" clId="Web-{0502AB6C-2530-035F-4B4B-6398BE02E197}" dt="2026-02-18T23:49:25.563" v="14"/>
          <ac:spMkLst>
            <pc:docMk/>
            <pc:sldMk cId="4278864824" sldId="5237"/>
            <ac:spMk id="12" creationId="{B50BF36E-F984-5698-D524-8F9F1DD21CFF}"/>
          </ac:spMkLst>
        </pc:spChg>
        <pc:spChg chg="mod">
          <ac:chgData name="Saki Watanabe" userId="S::saki.watanabe@sipartners.org::f601040c-51b1-4f21-bc4a-7292b43ccd49" providerId="AD" clId="Web-{0502AB6C-2530-035F-4B4B-6398BE02E197}" dt="2026-02-18T23:54:47.210" v="115" actId="1076"/>
          <ac:spMkLst>
            <pc:docMk/>
            <pc:sldMk cId="4278864824" sldId="5237"/>
            <ac:spMk id="13" creationId="{D578583E-7593-316C-5672-D35AA9C54C54}"/>
          </ac:spMkLst>
        </pc:spChg>
        <pc:spChg chg="mod">
          <ac:chgData name="Saki Watanabe" userId="S::saki.watanabe@sipartners.org::f601040c-51b1-4f21-bc4a-7292b43ccd49" providerId="AD" clId="Web-{0502AB6C-2530-035F-4B4B-6398BE02E197}" dt="2026-02-18T23:54:49.350" v="116" actId="1076"/>
          <ac:spMkLst>
            <pc:docMk/>
            <pc:sldMk cId="4278864824" sldId="5237"/>
            <ac:spMk id="14" creationId="{0DFB0BB0-73FD-8825-201A-9B54BDDB0195}"/>
          </ac:spMkLst>
        </pc:spChg>
        <pc:spChg chg="mod">
          <ac:chgData name="Saki Watanabe" userId="S::saki.watanabe@sipartners.org::f601040c-51b1-4f21-bc4a-7292b43ccd49" providerId="AD" clId="Web-{0502AB6C-2530-035F-4B4B-6398BE02E197}" dt="2026-02-18T23:54:56.132" v="118" actId="1076"/>
          <ac:spMkLst>
            <pc:docMk/>
            <pc:sldMk cId="4278864824" sldId="5237"/>
            <ac:spMk id="15" creationId="{4BAE7AF5-E8A0-2A89-FAC7-B7930F855AA3}"/>
          </ac:spMkLst>
        </pc:spChg>
        <pc:spChg chg="mod">
          <ac:chgData name="Saki Watanabe" userId="S::saki.watanabe@sipartners.org::f601040c-51b1-4f21-bc4a-7292b43ccd49" providerId="AD" clId="Web-{0502AB6C-2530-035F-4B4B-6398BE02E197}" dt="2026-02-18T23:54:57.850" v="119" actId="1076"/>
          <ac:spMkLst>
            <pc:docMk/>
            <pc:sldMk cId="4278864824" sldId="5237"/>
            <ac:spMk id="16" creationId="{AE803851-F0F5-41BD-57AC-4E02124A41C4}"/>
          </ac:spMkLst>
        </pc:spChg>
        <pc:spChg chg="add mod">
          <ac:chgData name="Saki Watanabe" userId="S::saki.watanabe@sipartners.org::f601040c-51b1-4f21-bc4a-7292b43ccd49" providerId="AD" clId="Web-{0502AB6C-2530-035F-4B4B-6398BE02E197}" dt="2026-02-18T23:50:19.658" v="26" actId="1076"/>
          <ac:spMkLst>
            <pc:docMk/>
            <pc:sldMk cId="4278864824" sldId="5237"/>
            <ac:spMk id="18" creationId="{34A7F813-5D9A-1108-2384-D022ADF0E39E}"/>
          </ac:spMkLst>
        </pc:spChg>
        <pc:spChg chg="add mod">
          <ac:chgData name="Saki Watanabe" userId="S::saki.watanabe@sipartners.org::f601040c-51b1-4f21-bc4a-7292b43ccd49" providerId="AD" clId="Web-{0502AB6C-2530-035F-4B4B-6398BE02E197}" dt="2026-02-18T23:56:39.055" v="170" actId="1076"/>
          <ac:spMkLst>
            <pc:docMk/>
            <pc:sldMk cId="4278864824" sldId="5237"/>
            <ac:spMk id="22" creationId="{C08A81E2-1BED-06F7-C1DE-6E81D61DDDAC}"/>
          </ac:spMkLst>
        </pc:spChg>
        <pc:spChg chg="add mod">
          <ac:chgData name="Saki Watanabe" userId="S::saki.watanabe@sipartners.org::f601040c-51b1-4f21-bc4a-7292b43ccd49" providerId="AD" clId="Web-{0502AB6C-2530-035F-4B4B-6398BE02E197}" dt="2026-02-18T23:56:29.180" v="168" actId="1076"/>
          <ac:spMkLst>
            <pc:docMk/>
            <pc:sldMk cId="4278864824" sldId="5237"/>
            <ac:spMk id="23" creationId="{43EB0AD1-2EE4-FD91-B8E2-CF75579E427A}"/>
          </ac:spMkLst>
        </pc:spChg>
        <pc:spChg chg="add mod">
          <ac:chgData name="Saki Watanabe" userId="S::saki.watanabe@sipartners.org::f601040c-51b1-4f21-bc4a-7292b43ccd49" providerId="AD" clId="Web-{0502AB6C-2530-035F-4B4B-6398BE02E197}" dt="2026-02-18T23:56:27.165" v="167" actId="1076"/>
          <ac:spMkLst>
            <pc:docMk/>
            <pc:sldMk cId="4278864824" sldId="5237"/>
            <ac:spMk id="24" creationId="{C5763A9E-6E7B-D152-F618-02ACE426BF2B}"/>
          </ac:spMkLst>
        </pc:spChg>
        <pc:spChg chg="add mod">
          <ac:chgData name="Saki Watanabe" userId="S::saki.watanabe@sipartners.org::f601040c-51b1-4f21-bc4a-7292b43ccd49" providerId="AD" clId="Web-{0502AB6C-2530-035F-4B4B-6398BE02E197}" dt="2026-02-18T23:58:30.736" v="189" actId="1076"/>
          <ac:spMkLst>
            <pc:docMk/>
            <pc:sldMk cId="4278864824" sldId="5237"/>
            <ac:spMk id="25" creationId="{B186DBC7-FEBD-08D5-1037-47770ECCD8ED}"/>
          </ac:spMkLst>
        </pc:spChg>
        <pc:spChg chg="add mod">
          <ac:chgData name="Saki Watanabe" userId="S::saki.watanabe@sipartners.org::f601040c-51b1-4f21-bc4a-7292b43ccd49" providerId="AD" clId="Web-{0502AB6C-2530-035F-4B4B-6398BE02E197}" dt="2026-02-18T23:57:12.355" v="177" actId="1076"/>
          <ac:spMkLst>
            <pc:docMk/>
            <pc:sldMk cId="4278864824" sldId="5237"/>
            <ac:spMk id="26" creationId="{2F92DD30-8B29-060C-696D-8DC062E0023F}"/>
          </ac:spMkLst>
        </pc:spChg>
        <pc:spChg chg="add mod">
          <ac:chgData name="Saki Watanabe" userId="S::saki.watanabe@sipartners.org::f601040c-51b1-4f21-bc4a-7292b43ccd49" providerId="AD" clId="Web-{0502AB6C-2530-035F-4B4B-6398BE02E197}" dt="2026-02-18T23:57:19.699" v="180" actId="1076"/>
          <ac:spMkLst>
            <pc:docMk/>
            <pc:sldMk cId="4278864824" sldId="5237"/>
            <ac:spMk id="27" creationId="{AC8B33B9-531D-94D9-726F-F01D702B9548}"/>
          </ac:spMkLst>
        </pc:spChg>
        <pc:spChg chg="add mod">
          <ac:chgData name="Saki Watanabe" userId="S::saki.watanabe@sipartners.org::f601040c-51b1-4f21-bc4a-7292b43ccd49" providerId="AD" clId="Web-{0502AB6C-2530-035F-4B4B-6398BE02E197}" dt="2026-02-18T23:57:25.340" v="182" actId="1076"/>
          <ac:spMkLst>
            <pc:docMk/>
            <pc:sldMk cId="4278864824" sldId="5237"/>
            <ac:spMk id="28" creationId="{40073345-F954-3C0A-7F26-38BA3B9DB222}"/>
          </ac:spMkLst>
        </pc:spChg>
        <pc:spChg chg="add mod">
          <ac:chgData name="Saki Watanabe" userId="S::saki.watanabe@sipartners.org::f601040c-51b1-4f21-bc4a-7292b43ccd49" providerId="AD" clId="Web-{0502AB6C-2530-035F-4B4B-6398BE02E197}" dt="2026-02-18T23:57:41.170" v="185" actId="1076"/>
          <ac:spMkLst>
            <pc:docMk/>
            <pc:sldMk cId="4278864824" sldId="5237"/>
            <ac:spMk id="29" creationId="{922FEBB7-FEDD-F792-606F-646FEAFB9197}"/>
          </ac:spMkLst>
        </pc:spChg>
        <pc:spChg chg="add mod">
          <ac:chgData name="Saki Watanabe" userId="S::saki.watanabe@sipartners.org::f601040c-51b1-4f21-bc4a-7292b43ccd49" providerId="AD" clId="Web-{0502AB6C-2530-035F-4B4B-6398BE02E197}" dt="2026-02-18T23:58:35.924" v="191" actId="1076"/>
          <ac:spMkLst>
            <pc:docMk/>
            <pc:sldMk cId="4278864824" sldId="5237"/>
            <ac:spMk id="30" creationId="{94E9F984-A1EB-3D93-D4A4-C8458D58F324}"/>
          </ac:spMkLst>
        </pc:spChg>
        <pc:spChg chg="mod">
          <ac:chgData name="Saki Watanabe" userId="S::saki.watanabe@sipartners.org::f601040c-51b1-4f21-bc4a-7292b43ccd49" providerId="AD" clId="Web-{0502AB6C-2530-035F-4B4B-6398BE02E197}" dt="2026-02-18T23:52:42.129" v="61" actId="20577"/>
          <ac:spMkLst>
            <pc:docMk/>
            <pc:sldMk cId="4278864824" sldId="5237"/>
            <ac:spMk id="40" creationId="{26BF665E-DC77-D786-35E3-24BDD55D714D}"/>
          </ac:spMkLst>
        </pc:spChg>
        <pc:spChg chg="mod">
          <ac:chgData name="Saki Watanabe" userId="S::saki.watanabe@sipartners.org::f601040c-51b1-4f21-bc4a-7292b43ccd49" providerId="AD" clId="Web-{0502AB6C-2530-035F-4B4B-6398BE02E197}" dt="2026-02-18T23:53:27.474" v="85" actId="20577"/>
          <ac:spMkLst>
            <pc:docMk/>
            <pc:sldMk cId="4278864824" sldId="5237"/>
            <ac:spMk id="49" creationId="{DF4DC147-A189-86E1-7F82-65F6F39032DD}"/>
          </ac:spMkLst>
        </pc:spChg>
        <pc:spChg chg="mod">
          <ac:chgData name="Saki Watanabe" userId="S::saki.watanabe@sipartners.org::f601040c-51b1-4f21-bc4a-7292b43ccd49" providerId="AD" clId="Web-{0502AB6C-2530-035F-4B4B-6398BE02E197}" dt="2026-02-18T23:54:27.600" v="111" actId="20577"/>
          <ac:spMkLst>
            <pc:docMk/>
            <pc:sldMk cId="4278864824" sldId="5237"/>
            <ac:spMk id="50" creationId="{0077D8CB-3A00-B656-1036-A70C09FE1997}"/>
          </ac:spMkLst>
        </pc:spChg>
        <pc:picChg chg="add mod modCrop">
          <ac:chgData name="Saki Watanabe" userId="S::saki.watanabe@sipartners.org::f601040c-51b1-4f21-bc4a-7292b43ccd49" providerId="AD" clId="Web-{0502AB6C-2530-035F-4B4B-6398BE02E197}" dt="2026-02-18T23:58:08.922" v="187" actId="1076"/>
          <ac:picMkLst>
            <pc:docMk/>
            <pc:sldMk cId="4278864824" sldId="5237"/>
            <ac:picMk id="5" creationId="{4B6FBFF7-B0F4-4507-95B3-AEE42625647E}"/>
          </ac:picMkLst>
        </pc:picChg>
      </pc:sldChg>
      <pc:sldChg chg="ord">
        <pc:chgData name="Saki Watanabe" userId="S::saki.watanabe@sipartners.org::f601040c-51b1-4f21-bc4a-7292b43ccd49" providerId="AD" clId="Web-{0502AB6C-2530-035F-4B4B-6398BE02E197}" dt="2026-02-18T23:48:46.234" v="7"/>
        <pc:sldMkLst>
          <pc:docMk/>
          <pc:sldMk cId="559485257" sldId="5238"/>
        </pc:sldMkLst>
      </pc:sldChg>
      <pc:sldChg chg="delSp add ord replId">
        <pc:chgData name="Saki Watanabe" userId="S::saki.watanabe@sipartners.org::f601040c-51b1-4f21-bc4a-7292b43ccd49" providerId="AD" clId="Web-{0502AB6C-2530-035F-4B4B-6398BE02E197}" dt="2026-02-18T23:48:48.718" v="8"/>
        <pc:sldMkLst>
          <pc:docMk/>
          <pc:sldMk cId="3362765780" sldId="5239"/>
        </pc:sldMkLst>
        <pc:picChg chg="del">
          <ac:chgData name="Saki Watanabe" userId="S::saki.watanabe@sipartners.org::f601040c-51b1-4f21-bc4a-7292b43ccd49" providerId="AD" clId="Web-{0502AB6C-2530-035F-4B4B-6398BE02E197}" dt="2026-02-18T23:48:34.171" v="5"/>
          <ac:picMkLst>
            <pc:docMk/>
            <pc:sldMk cId="3362765780" sldId="5239"/>
            <ac:picMk id="5" creationId="{594BFA9D-E274-107A-27D9-2B279BB1672E}"/>
          </ac:picMkLst>
        </pc:picChg>
      </pc:sldChg>
      <pc:sldChg chg="add ord replId">
        <pc:chgData name="Saki Watanabe" userId="S::saki.watanabe@sipartners.org::f601040c-51b1-4f21-bc4a-7292b43ccd49" providerId="AD" clId="Web-{0502AB6C-2530-035F-4B4B-6398BE02E197}" dt="2026-02-18T23:49:05.094" v="10"/>
        <pc:sldMkLst>
          <pc:docMk/>
          <pc:sldMk cId="3455943827" sldId="5240"/>
        </pc:sldMkLst>
      </pc:sldChg>
    </pc:docChg>
  </pc:docChgLst>
  <pc:docChgLst>
    <pc:chgData name="Saki Watanabe" userId="S::saki.watanabe@sipartners.org::f601040c-51b1-4f21-bc4a-7292b43ccd49" providerId="AD" clId="Web-{A6401734-52AC-A129-8641-B5E54CD1BB8F}"/>
    <pc:docChg chg="delSld modSld modSection">
      <pc:chgData name="Saki Watanabe" userId="S::saki.watanabe@sipartners.org::f601040c-51b1-4f21-bc4a-7292b43ccd49" providerId="AD" clId="Web-{A6401734-52AC-A129-8641-B5E54CD1BB8F}" dt="2026-02-19T07:12:55.543" v="319" actId="20577"/>
      <pc:docMkLst>
        <pc:docMk/>
      </pc:docMkLst>
      <pc:sldChg chg="delSp modSp del">
        <pc:chgData name="Saki Watanabe" userId="S::saki.watanabe@sipartners.org::f601040c-51b1-4f21-bc4a-7292b43ccd49" providerId="AD" clId="Web-{A6401734-52AC-A129-8641-B5E54CD1BB8F}" dt="2026-02-19T07:10:43.697" v="301"/>
        <pc:sldMkLst>
          <pc:docMk/>
          <pc:sldMk cId="4278864824" sldId="5237"/>
        </pc:sldMkLst>
        <pc:spChg chg="mod">
          <ac:chgData name="Saki Watanabe" userId="S::saki.watanabe@sipartners.org::f601040c-51b1-4f21-bc4a-7292b43ccd49" providerId="AD" clId="Web-{A6401734-52AC-A129-8641-B5E54CD1BB8F}" dt="2026-02-18T23:59:37.889" v="20" actId="20577"/>
          <ac:spMkLst>
            <pc:docMk/>
            <pc:sldMk cId="4278864824" sldId="5237"/>
            <ac:spMk id="25" creationId="{B186DBC7-FEBD-08D5-1037-47770ECCD8ED}"/>
          </ac:spMkLst>
        </pc:spChg>
        <pc:spChg chg="mod">
          <ac:chgData name="Saki Watanabe" userId="S::saki.watanabe@sipartners.org::f601040c-51b1-4f21-bc4a-7292b43ccd49" providerId="AD" clId="Web-{A6401734-52AC-A129-8641-B5E54CD1BB8F}" dt="2026-02-19T00:02:01.702" v="102"/>
          <ac:spMkLst>
            <pc:docMk/>
            <pc:sldMk cId="4278864824" sldId="5237"/>
            <ac:spMk id="26" creationId="{2F92DD30-8B29-060C-696D-8DC062E0023F}"/>
          </ac:spMkLst>
        </pc:spChg>
        <pc:spChg chg="mod">
          <ac:chgData name="Saki Watanabe" userId="S::saki.watanabe@sipartners.org::f601040c-51b1-4f21-bc4a-7292b43ccd49" providerId="AD" clId="Web-{A6401734-52AC-A129-8641-B5E54CD1BB8F}" dt="2026-02-19T00:02:04.249" v="103"/>
          <ac:spMkLst>
            <pc:docMk/>
            <pc:sldMk cId="4278864824" sldId="5237"/>
            <ac:spMk id="27" creationId="{AC8B33B9-531D-94D9-726F-F01D702B9548}"/>
          </ac:spMkLst>
        </pc:spChg>
        <pc:spChg chg="mod">
          <ac:chgData name="Saki Watanabe" userId="S::saki.watanabe@sipartners.org::f601040c-51b1-4f21-bc4a-7292b43ccd49" providerId="AD" clId="Web-{A6401734-52AC-A129-8641-B5E54CD1BB8F}" dt="2026-02-19T00:02:55.687" v="142" actId="20577"/>
          <ac:spMkLst>
            <pc:docMk/>
            <pc:sldMk cId="4278864824" sldId="5237"/>
            <ac:spMk id="28" creationId="{40073345-F954-3C0A-7F26-38BA3B9DB222}"/>
          </ac:spMkLst>
        </pc:spChg>
        <pc:spChg chg="mod">
          <ac:chgData name="Saki Watanabe" userId="S::saki.watanabe@sipartners.org::f601040c-51b1-4f21-bc4a-7292b43ccd49" providerId="AD" clId="Web-{A6401734-52AC-A129-8641-B5E54CD1BB8F}" dt="2026-02-19T00:03:43.890" v="174" actId="20577"/>
          <ac:spMkLst>
            <pc:docMk/>
            <pc:sldMk cId="4278864824" sldId="5237"/>
            <ac:spMk id="29" creationId="{922FEBB7-FEDD-F792-606F-646FEAFB9197}"/>
          </ac:spMkLst>
        </pc:spChg>
        <pc:spChg chg="mod">
          <ac:chgData name="Saki Watanabe" userId="S::saki.watanabe@sipartners.org::f601040c-51b1-4f21-bc4a-7292b43ccd49" providerId="AD" clId="Web-{A6401734-52AC-A129-8641-B5E54CD1BB8F}" dt="2026-02-19T00:00:03.624" v="29" actId="20577"/>
          <ac:spMkLst>
            <pc:docMk/>
            <pc:sldMk cId="4278864824" sldId="5237"/>
            <ac:spMk id="30" creationId="{94E9F984-A1EB-3D93-D4A4-C8458D58F324}"/>
          </ac:spMkLst>
        </pc:spChg>
        <pc:picChg chg="del">
          <ac:chgData name="Saki Watanabe" userId="S::saki.watanabe@sipartners.org::f601040c-51b1-4f21-bc4a-7292b43ccd49" providerId="AD" clId="Web-{A6401734-52AC-A129-8641-B5E54CD1BB8F}" dt="2026-02-19T00:03:44.655" v="175"/>
          <ac:picMkLst>
            <pc:docMk/>
            <pc:sldMk cId="4278864824" sldId="5237"/>
            <ac:picMk id="5" creationId="{4B6FBFF7-B0F4-4507-95B3-AEE42625647E}"/>
          </ac:picMkLst>
        </pc:picChg>
      </pc:sldChg>
      <pc:sldChg chg="modSp">
        <pc:chgData name="Saki Watanabe" userId="S::saki.watanabe@sipartners.org::f601040c-51b1-4f21-bc4a-7292b43ccd49" providerId="AD" clId="Web-{A6401734-52AC-A129-8641-B5E54CD1BB8F}" dt="2026-02-19T07:12:32.199" v="317" actId="20577"/>
        <pc:sldMkLst>
          <pc:docMk/>
          <pc:sldMk cId="559485257" sldId="5238"/>
        </pc:sldMkLst>
        <pc:spChg chg="mod">
          <ac:chgData name="Saki Watanabe" userId="S::saki.watanabe@sipartners.org::f601040c-51b1-4f21-bc4a-7292b43ccd49" providerId="AD" clId="Web-{A6401734-52AC-A129-8641-B5E54CD1BB8F}" dt="2026-02-19T07:12:32.199" v="317" actId="20577"/>
          <ac:spMkLst>
            <pc:docMk/>
            <pc:sldMk cId="559485257" sldId="5238"/>
            <ac:spMk id="2" creationId="{EF855F63-5F5C-E163-0FDD-0417FCB226E8}"/>
          </ac:spMkLst>
        </pc:spChg>
      </pc:sldChg>
      <pc:sldChg chg="modSp">
        <pc:chgData name="Saki Watanabe" userId="S::saki.watanabe@sipartners.org::f601040c-51b1-4f21-bc4a-7292b43ccd49" providerId="AD" clId="Web-{A6401734-52AC-A129-8641-B5E54CD1BB8F}" dt="2026-02-19T07:12:55.543" v="319" actId="20577"/>
        <pc:sldMkLst>
          <pc:docMk/>
          <pc:sldMk cId="3362765780" sldId="5239"/>
        </pc:sldMkLst>
        <pc:spChg chg="mod">
          <ac:chgData name="Saki Watanabe" userId="S::saki.watanabe@sipartners.org::f601040c-51b1-4f21-bc4a-7292b43ccd49" providerId="AD" clId="Web-{A6401734-52AC-A129-8641-B5E54CD1BB8F}" dt="2026-02-19T07:12:55.543" v="319" actId="20577"/>
          <ac:spMkLst>
            <pc:docMk/>
            <pc:sldMk cId="3362765780" sldId="5239"/>
            <ac:spMk id="2" creationId="{EE3163F0-1D10-E13B-F6F1-958BB1BF8754}"/>
          </ac:spMkLst>
        </pc:spChg>
      </pc:sldChg>
      <pc:sldChg chg="modSp del">
        <pc:chgData name="Saki Watanabe" userId="S::saki.watanabe@sipartners.org::f601040c-51b1-4f21-bc4a-7292b43ccd49" providerId="AD" clId="Web-{A6401734-52AC-A129-8641-B5E54CD1BB8F}" dt="2026-02-19T07:10:47.291" v="302"/>
        <pc:sldMkLst>
          <pc:docMk/>
          <pc:sldMk cId="3455943827" sldId="5240"/>
        </pc:sldMkLst>
        <pc:spChg chg="mod">
          <ac:chgData name="Saki Watanabe" userId="S::saki.watanabe@sipartners.org::f601040c-51b1-4f21-bc4a-7292b43ccd49" providerId="AD" clId="Web-{A6401734-52AC-A129-8641-B5E54CD1BB8F}" dt="2026-02-19T00:05:43.640" v="201" actId="20577"/>
          <ac:spMkLst>
            <pc:docMk/>
            <pc:sldMk cId="3455943827" sldId="5240"/>
            <ac:spMk id="22" creationId="{F14791CD-E72B-3220-532F-63813E7A7F56}"/>
          </ac:spMkLst>
        </pc:spChg>
        <pc:spChg chg="mod">
          <ac:chgData name="Saki Watanabe" userId="S::saki.watanabe@sipartners.org::f601040c-51b1-4f21-bc4a-7292b43ccd49" providerId="AD" clId="Web-{A6401734-52AC-A129-8641-B5E54CD1BB8F}" dt="2026-02-19T00:06:21.406" v="219" actId="20577"/>
          <ac:spMkLst>
            <pc:docMk/>
            <pc:sldMk cId="3455943827" sldId="5240"/>
            <ac:spMk id="23" creationId="{F339FEC9-AEEB-DD94-41FF-C24116341536}"/>
          </ac:spMkLst>
        </pc:spChg>
        <pc:spChg chg="mod">
          <ac:chgData name="Saki Watanabe" userId="S::saki.watanabe@sipartners.org::f601040c-51b1-4f21-bc4a-7292b43ccd49" providerId="AD" clId="Web-{A6401734-52AC-A129-8641-B5E54CD1BB8F}" dt="2026-02-19T00:13:36.578" v="300" actId="20577"/>
          <ac:spMkLst>
            <pc:docMk/>
            <pc:sldMk cId="3455943827" sldId="5240"/>
            <ac:spMk id="24" creationId="{B5253A3A-DACF-30BB-2811-3854040F9D69}"/>
          </ac:spMkLst>
        </pc:spChg>
        <pc:spChg chg="mod">
          <ac:chgData name="Saki Watanabe" userId="S::saki.watanabe@sipartners.org::f601040c-51b1-4f21-bc4a-7292b43ccd49" providerId="AD" clId="Web-{A6401734-52AC-A129-8641-B5E54CD1BB8F}" dt="2026-02-19T00:13:08.562" v="288" actId="20577"/>
          <ac:spMkLst>
            <pc:docMk/>
            <pc:sldMk cId="3455943827" sldId="5240"/>
            <ac:spMk id="25" creationId="{43393191-D1F4-3E26-EE04-89987C12D607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3079409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4967" tIns="32485" rIns="64967" bIns="32485" numCol="1" anchor="t" anchorCtr="0" compatLnSpc="1">
            <a:prstTxWarp prst="textNoShape">
              <a:avLst/>
            </a:prstTxWarp>
          </a:bodyPr>
          <a:lstStyle>
            <a:lvl1pPr defTabSz="650270">
              <a:defRPr sz="8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4024656" y="0"/>
            <a:ext cx="3077772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4967" tIns="32485" rIns="64967" bIns="32485" numCol="1" anchor="t" anchorCtr="0" compatLnSpc="1">
            <a:prstTxWarp prst="textNoShape">
              <a:avLst/>
            </a:prstTxWarp>
          </a:bodyPr>
          <a:lstStyle>
            <a:lvl1pPr algn="r" defTabSz="650270">
              <a:defRPr sz="800"/>
            </a:lvl1pPr>
          </a:lstStyle>
          <a:p>
            <a:fld id="{39D7E852-17AA-4CB6-8273-0685DB7F9B51}" type="datetimeFigureOut">
              <a:rPr lang="en-US"/>
              <a:pPr/>
              <a:t>2/18/202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721264"/>
            <a:ext cx="3079409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4967" tIns="32485" rIns="64967" bIns="32485" numCol="1" anchor="b" anchorCtr="0" compatLnSpc="1">
            <a:prstTxWarp prst="textNoShape">
              <a:avLst/>
            </a:prstTxWarp>
          </a:bodyPr>
          <a:lstStyle>
            <a:lvl1pPr defTabSz="650270">
              <a:defRPr sz="8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4024656" y="9721264"/>
            <a:ext cx="3077772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4967" tIns="32485" rIns="64967" bIns="32485" numCol="1" anchor="b" anchorCtr="0" compatLnSpc="1">
            <a:prstTxWarp prst="textNoShape">
              <a:avLst/>
            </a:prstTxWarp>
          </a:bodyPr>
          <a:lstStyle>
            <a:lvl1pPr algn="r" defTabSz="650270">
              <a:defRPr sz="800"/>
            </a:lvl1pPr>
          </a:lstStyle>
          <a:p>
            <a:fld id="{61B1335B-9C73-459E-8F94-9ADB241FD5F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419856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3079409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9" tIns="49526" rIns="99049" bIns="49526" numCol="1" anchor="t" anchorCtr="0" compatLnSpc="1">
            <a:prstTxWarp prst="textNoShape">
              <a:avLst/>
            </a:prstTxWarp>
          </a:bodyPr>
          <a:lstStyle>
            <a:lvl1pPr defTabSz="650270">
              <a:defRPr sz="1200">
                <a:latin typeface="Calibri" pitchFamily="34" charset="0"/>
              </a:defRPr>
            </a:lvl1pPr>
          </a:lstStyle>
          <a:p>
            <a:endParaRPr lang="en-GB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4024656" y="0"/>
            <a:ext cx="3077772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9" tIns="49526" rIns="99049" bIns="49526" numCol="1" anchor="t" anchorCtr="0" compatLnSpc="1">
            <a:prstTxWarp prst="textNoShape">
              <a:avLst/>
            </a:prstTxWarp>
          </a:bodyPr>
          <a:lstStyle>
            <a:lvl1pPr algn="r" defTabSz="650270">
              <a:defRPr sz="1200">
                <a:latin typeface="Calibri" pitchFamily="34" charset="0"/>
              </a:defRPr>
            </a:lvl1pPr>
          </a:lstStyle>
          <a:p>
            <a:fld id="{B76C7504-6E39-4454-ABF9-7D8634367105}" type="datetimeFigureOut">
              <a:rPr lang="en-US">
                <a:latin typeface="Arial"/>
              </a:rPr>
              <a:pPr/>
              <a:t>2/18/2026</a:t>
            </a:fld>
            <a:endParaRPr lang="en-GB">
              <a:latin typeface="Arial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9463" y="766763"/>
            <a:ext cx="5548312" cy="3840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42743" tIns="71373" rIns="142743" bIns="71373" rtlCol="0" anchor="ctr"/>
          <a:lstStyle/>
          <a:p>
            <a:pPr lvl="0"/>
            <a:endParaRPr lang="en-GB" noProof="0">
              <a:latin typeface="Arial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709753" y="4861443"/>
            <a:ext cx="5684559" cy="4605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9" tIns="49526" rIns="99049" bIns="4952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0"/>
            <a:r>
              <a:rPr lang="en-US" noProof="0"/>
              <a:t>Second level</a:t>
            </a:r>
          </a:p>
          <a:p>
            <a:pPr lvl="0"/>
            <a:r>
              <a:rPr lang="en-US" noProof="0"/>
              <a:t>Third level</a:t>
            </a:r>
          </a:p>
          <a:p>
            <a:pPr lvl="0"/>
            <a:r>
              <a:rPr lang="en-US" noProof="0"/>
              <a:t>Fourth level</a:t>
            </a:r>
          </a:p>
          <a:p>
            <a:pPr lvl="0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721264"/>
            <a:ext cx="3079409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9" tIns="49526" rIns="99049" bIns="49526" numCol="1" anchor="b" anchorCtr="0" compatLnSpc="1">
            <a:prstTxWarp prst="textNoShape">
              <a:avLst/>
            </a:prstTxWarp>
          </a:bodyPr>
          <a:lstStyle>
            <a:lvl1pPr defTabSz="650270">
              <a:defRPr sz="1200">
                <a:latin typeface="Calibri" pitchFamily="34" charset="0"/>
              </a:defRPr>
            </a:lvl1pPr>
          </a:lstStyle>
          <a:p>
            <a:endParaRPr lang="en-GB">
              <a:latin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4024656" y="9721264"/>
            <a:ext cx="3077772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9" tIns="49526" rIns="99049" bIns="49526" numCol="1" anchor="b" anchorCtr="0" compatLnSpc="1">
            <a:prstTxWarp prst="textNoShape">
              <a:avLst/>
            </a:prstTxWarp>
          </a:bodyPr>
          <a:lstStyle>
            <a:lvl1pPr algn="r" defTabSz="650270">
              <a:defRPr sz="1200">
                <a:latin typeface="Calibri" pitchFamily="34" charset="0"/>
              </a:defRPr>
            </a:lvl1pPr>
          </a:lstStyle>
          <a:p>
            <a:fld id="{DFA6DC0F-00C0-48CB-BFD3-E923E37ECD77}" type="slidenum">
              <a:rPr lang="en-GB">
                <a:latin typeface="Arial"/>
              </a:rPr>
              <a:pPr/>
              <a:t>‹#›</a:t>
            </a:fld>
            <a:endParaRPr lang="en-GB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97114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/>
        <a:ea typeface="+mn-ea"/>
        <a:cs typeface="+mn-cs"/>
        <a:sym typeface="Arial"/>
      </a:defRPr>
    </a:lvl1pPr>
    <a:lvl2pPr marL="698373" indent="-268605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074420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504188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933956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148840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78608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08376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38144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30FD09-8DF8-562E-F194-074F8F127C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7A3DB6DA-A1D4-69A4-4BE8-A4D52DEBC2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7EB08D1A-C3A9-3A70-D479-F58C5C0669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2A614CEC-2D41-8871-2FA0-E4E3DC85300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A6DC0F-00C0-48CB-BFD3-E923E37ECD77}" type="slidenum">
              <a:rPr lang="en-GB" smtClean="0">
                <a:latin typeface="Arial"/>
              </a:rPr>
              <a:pPr/>
              <a:t>1</a:t>
            </a:fld>
            <a:endParaRPr lang="en-GB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777400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67492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270" imgH="270" progId="TCLayout.ActiveDocument.1">
                  <p:embed/>
                </p:oleObj>
              </mc:Choice>
              <mc:Fallback>
                <p:oleObj name="think-cellスライド" r:id="rId3" imgW="270" imgH="270" progId="TCLayout.ActiveDocument.1">
                  <p:embed/>
                  <p:pic>
                    <p:nvPicPr>
                      <p:cNvPr id="11" name="オブジェクト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Box 9"/>
          <p:cNvSpPr txBox="1">
            <a:spLocks noChangeArrowheads="1"/>
          </p:cNvSpPr>
          <p:nvPr userDrawn="1"/>
        </p:nvSpPr>
        <p:spPr bwMode="gray">
          <a:xfrm>
            <a:off x="966523" y="3359659"/>
            <a:ext cx="5310749" cy="228332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ja-JP" altLang="en-US" sz="1400" kern="120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charset="0"/>
              </a:rPr>
              <a:t>一般社団法人ソーシャル・イノベーション・パートナーズ（</a:t>
            </a:r>
            <a:r>
              <a:rPr lang="en-US" altLang="ja-JP" sz="1400" kern="120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charset="0"/>
              </a:rPr>
              <a:t>SIP</a:t>
            </a:r>
            <a:r>
              <a:rPr lang="ja-JP" altLang="en-US" sz="1400" kern="120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charset="0"/>
              </a:rPr>
              <a:t>）</a:t>
            </a:r>
            <a:endParaRPr lang="en-US" altLang="ja-JP" sz="1400" kern="120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charset="0"/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vert="horz"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1pPr>
          </a:lstStyle>
          <a:p>
            <a:r>
              <a:rPr kumimoji="1" lang="ja-JP" altLang="en-US"/>
              <a:t>表紙タイトル</a:t>
            </a:r>
            <a:endParaRPr lang="en-US" altLang="ja-JP"/>
          </a:p>
        </p:txBody>
      </p:sp>
      <p:pic>
        <p:nvPicPr>
          <p:cNvPr id="3" name="図 2" descr="ロゴ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66BC4B63-B12D-59A8-05D2-464ED3DB065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523" y="589782"/>
            <a:ext cx="1638223" cy="985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414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52053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270" imgH="270" progId="TCLayout.ActiveDocument.1">
                  <p:embed/>
                </p:oleObj>
              </mc:Choice>
              <mc:Fallback>
                <p:oleObj name="think-cellスライド" r:id="rId3" imgW="270" imgH="270" progId="TCLayout.ActiveDocument.1">
                  <p:embed/>
                  <p:pic>
                    <p:nvPicPr>
                      <p:cNvPr id="7" name="オブジェクト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51928" y="119866"/>
            <a:ext cx="9242405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51929" y="1689637"/>
            <a:ext cx="9066013" cy="4598296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Arial" panose="020B0604020202020204" pitchFamily="34" charset="0"/>
              <a:buChar char="•"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游ゴシック" panose="020B0400000000000000" pitchFamily="50" charset="-128"/>
              <a:buChar char="-"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Wingdings" panose="05000000000000000000" pitchFamily="2" charset="2"/>
              <a:buChar char="Ø"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1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>
          <a:xfrm>
            <a:off x="9667134" y="6593573"/>
            <a:ext cx="180000" cy="169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690140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0841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270" imgH="270" progId="TCLayout.ActiveDocument.1">
                  <p:embed/>
                </p:oleObj>
              </mc:Choice>
              <mc:Fallback>
                <p:oleObj name="think-cellスライド" r:id="rId3" imgW="270" imgH="270" progId="TCLayout.ActiveDocument.1">
                  <p:embed/>
                  <p:pic>
                    <p:nvPicPr>
                      <p:cNvPr id="12" name="オブジェクト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5925" y="12012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br>
              <a:rPr lang="en-US" altLang="ja-JP"/>
            </a:br>
            <a:r>
              <a:rPr lang="ja-JP" altLang="en-US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1pPr>
            <a:lvl2pPr marL="171450" indent="-171450">
              <a:lnSpc>
                <a:spcPct val="106000"/>
              </a:lnSpc>
              <a:spcBef>
                <a:spcPts val="1056"/>
              </a:spcBef>
              <a:buFont typeface="Arial" panose="020B0604020202020204" pitchFamily="34" charset="0"/>
              <a:buChar char="•"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游ゴシック" panose="020B0400000000000000" pitchFamily="50" charset="-128"/>
              <a:buChar char="-"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1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>
          <a:xfrm>
            <a:off x="9642082" y="6606099"/>
            <a:ext cx="180000" cy="169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14" name="フッター プレースホルダ 10"/>
          <p:cNvSpPr txBox="1">
            <a:spLocks/>
          </p:cNvSpPr>
          <p:nvPr userDrawn="1"/>
        </p:nvSpPr>
        <p:spPr bwMode="gray">
          <a:xfrm>
            <a:off x="8095844" y="-942"/>
            <a:ext cx="1873347" cy="1735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1100" i="1">
                <a:solidFill>
                  <a:srgbClr val="FF0000"/>
                </a:solidFill>
                <a:latin typeface="ＭＳ Ｐゴシック" panose="020B0600070205080204" pitchFamily="50" charset="-128"/>
              </a:rPr>
              <a:t>For Discussion Purpose Only</a:t>
            </a:r>
          </a:p>
        </p:txBody>
      </p:sp>
      <p:sp>
        <p:nvSpPr>
          <p:cNvPr id="15" name="Red stripe"/>
          <p:cNvSpPr/>
          <p:nvPr userDrawn="1"/>
        </p:nvSpPr>
        <p:spPr>
          <a:xfrm>
            <a:off x="414049" y="782689"/>
            <a:ext cx="9144000" cy="45719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rgbClr val="00A1DE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コンテンツ プレースホルダ 2"/>
          <p:cNvSpPr>
            <a:spLocks noGrp="1"/>
          </p:cNvSpPr>
          <p:nvPr>
            <p:ph idx="17"/>
          </p:nvPr>
        </p:nvSpPr>
        <p:spPr bwMode="gray">
          <a:xfrm>
            <a:off x="5140897" y="1486101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1pPr>
            <a:lvl2pPr marL="171450" indent="-171450">
              <a:lnSpc>
                <a:spcPct val="106000"/>
              </a:lnSpc>
              <a:spcBef>
                <a:spcPts val="1056"/>
              </a:spcBef>
              <a:buFont typeface="Arial" panose="020B0604020202020204" pitchFamily="34" charset="0"/>
              <a:buChar char="•"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游ゴシック" panose="020B0400000000000000" pitchFamily="50" charset="-128"/>
              <a:buChar char="-"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1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7297439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B7993ADD-BDA4-6947-AEE5-513D73B98D4A}"/>
              </a:ext>
            </a:extLst>
          </p:cNvPr>
          <p:cNvSpPr/>
          <p:nvPr userDrawn="1"/>
        </p:nvSpPr>
        <p:spPr>
          <a:xfrm>
            <a:off x="0" y="6571365"/>
            <a:ext cx="9906000" cy="286635"/>
          </a:xfrm>
          <a:prstGeom prst="rect">
            <a:avLst/>
          </a:prstGeom>
          <a:solidFill>
            <a:srgbClr val="2E8A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44"/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BCE7CE0D-D4B3-CD4C-B79B-CFD982427A74}"/>
              </a:ext>
            </a:extLst>
          </p:cNvPr>
          <p:cNvSpPr/>
          <p:nvPr userDrawn="1"/>
        </p:nvSpPr>
        <p:spPr>
          <a:xfrm>
            <a:off x="0" y="0"/>
            <a:ext cx="7969827" cy="931056"/>
          </a:xfrm>
          <a:prstGeom prst="rect">
            <a:avLst/>
          </a:prstGeom>
          <a:solidFill>
            <a:srgbClr val="2E8A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44"/>
          </a:p>
        </p:txBody>
      </p:sp>
      <p:sp>
        <p:nvSpPr>
          <p:cNvPr id="15" name="直角三角形 14">
            <a:extLst>
              <a:ext uri="{FF2B5EF4-FFF2-40B4-BE49-F238E27FC236}">
                <a16:creationId xmlns:a16="http://schemas.microsoft.com/office/drawing/2014/main" id="{66ACDD0C-B741-BF47-8055-A463E79BCDFD}"/>
              </a:ext>
            </a:extLst>
          </p:cNvPr>
          <p:cNvSpPr/>
          <p:nvPr userDrawn="1"/>
        </p:nvSpPr>
        <p:spPr>
          <a:xfrm rot="5400000">
            <a:off x="7882540" y="87287"/>
            <a:ext cx="931055" cy="756482"/>
          </a:xfrm>
          <a:prstGeom prst="rtTriangle">
            <a:avLst/>
          </a:prstGeom>
          <a:solidFill>
            <a:srgbClr val="2E8A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44"/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E362D9EA-BF2B-4F54-B6BA-0C76496EF7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9631" y="1268856"/>
            <a:ext cx="8543925" cy="4351338"/>
          </a:xfrm>
        </p:spPr>
        <p:txBody>
          <a:bodyPr/>
          <a:lstStyle>
            <a:lvl1pPr marL="185738" indent="-185738">
              <a:buFont typeface="Wingdings" panose="05000000000000000000" pitchFamily="2" charset="2"/>
              <a:buChar char="l"/>
              <a:defRPr b="1" i="0">
                <a:solidFill>
                  <a:srgbClr val="00206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>
              <a:defRPr b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928688" indent="-185738">
              <a:buFont typeface="Wingdings" panose="05000000000000000000" pitchFamily="2" charset="2"/>
              <a:buChar char="Ø"/>
              <a:defRPr b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>
              <a:defRPr b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>
              <a:defRPr b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EA344675-18B2-4F83-A122-0662FA36B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31188" y="6532119"/>
            <a:ext cx="222885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1F6A0AC-F2C6-4C21-B4A0-CF4BD5AB1286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4" name="タイトル 13">
            <a:extLst>
              <a:ext uri="{FF2B5EF4-FFF2-40B4-BE49-F238E27FC236}">
                <a16:creationId xmlns:a16="http://schemas.microsoft.com/office/drawing/2014/main" id="{FFB59D12-01FD-40A6-8D92-9603E6FDA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631" y="293539"/>
            <a:ext cx="8543925" cy="499732"/>
          </a:xfrm>
        </p:spPr>
        <p:txBody>
          <a:bodyPr>
            <a:noAutofit/>
          </a:bodyPr>
          <a:lstStyle>
            <a:lvl1pPr>
              <a:defRPr sz="2600" b="1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1" name="フッター プレースホルダー 4">
            <a:extLst>
              <a:ext uri="{FF2B5EF4-FFF2-40B4-BE49-F238E27FC236}">
                <a16:creationId xmlns:a16="http://schemas.microsoft.com/office/drawing/2014/main" id="{266C74D6-438D-49D4-818C-19AEE3DA30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1363" y="6532119"/>
            <a:ext cx="334327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ja-JP" altLang="en-US"/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id="{AF2E0539-A270-07B6-E57F-47D2D42ECE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68335" y="117793"/>
            <a:ext cx="883193" cy="734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9349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0DE3237F-18DF-B044-8B92-F3F040E3A689}"/>
              </a:ext>
            </a:extLst>
          </p:cNvPr>
          <p:cNvSpPr/>
          <p:nvPr userDrawn="1"/>
        </p:nvSpPr>
        <p:spPr>
          <a:xfrm>
            <a:off x="0" y="6571365"/>
            <a:ext cx="9906000" cy="286635"/>
          </a:xfrm>
          <a:prstGeom prst="rect">
            <a:avLst/>
          </a:prstGeom>
          <a:solidFill>
            <a:srgbClr val="2E8A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44"/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75B5599E-40D1-2D46-BFE0-5F784CAEDD5B}"/>
              </a:ext>
            </a:extLst>
          </p:cNvPr>
          <p:cNvSpPr/>
          <p:nvPr userDrawn="1"/>
        </p:nvSpPr>
        <p:spPr>
          <a:xfrm>
            <a:off x="0" y="0"/>
            <a:ext cx="7969827" cy="931056"/>
          </a:xfrm>
          <a:prstGeom prst="rect">
            <a:avLst/>
          </a:prstGeom>
          <a:solidFill>
            <a:srgbClr val="2E8A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44"/>
          </a:p>
        </p:txBody>
      </p:sp>
      <p:sp>
        <p:nvSpPr>
          <p:cNvPr id="13" name="直角三角形 12">
            <a:extLst>
              <a:ext uri="{FF2B5EF4-FFF2-40B4-BE49-F238E27FC236}">
                <a16:creationId xmlns:a16="http://schemas.microsoft.com/office/drawing/2014/main" id="{7BD76297-E9AF-A140-9C9B-330F13C90E5F}"/>
              </a:ext>
            </a:extLst>
          </p:cNvPr>
          <p:cNvSpPr/>
          <p:nvPr userDrawn="1"/>
        </p:nvSpPr>
        <p:spPr>
          <a:xfrm rot="5400000">
            <a:off x="7882540" y="87287"/>
            <a:ext cx="931055" cy="756482"/>
          </a:xfrm>
          <a:prstGeom prst="rtTriangle">
            <a:avLst/>
          </a:prstGeom>
          <a:solidFill>
            <a:srgbClr val="2E8A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44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58149EFB-8DCB-44D9-92A0-BD7E4520CF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0566" y="5334623"/>
            <a:ext cx="3343275" cy="1016000"/>
          </a:xfrm>
          <a:prstGeom prst="rect">
            <a:avLst/>
          </a:prstGeom>
        </p:spPr>
      </p:pic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6646DE7B-591E-426E-9A0A-B83A8B3FA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1363" y="6532119"/>
            <a:ext cx="334327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516272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グループ化 7"/>
          <p:cNvGrpSpPr/>
          <p:nvPr userDrawn="1"/>
        </p:nvGrpSpPr>
        <p:grpSpPr>
          <a:xfrm>
            <a:off x="3" y="1"/>
            <a:ext cx="8726313" cy="576000"/>
            <a:chOff x="1" y="0"/>
            <a:chExt cx="8055058" cy="931059"/>
          </a:xfrm>
        </p:grpSpPr>
        <p:sp>
          <p:nvSpPr>
            <p:cNvPr id="9" name="正方形/長方形 8">
              <a:extLst>
                <a:ext uri="{FF2B5EF4-FFF2-40B4-BE49-F238E27FC236}">
                  <a16:creationId xmlns:a16="http://schemas.microsoft.com/office/drawing/2014/main" id="{75B5599E-40D1-2D46-BFE0-5F784CAEDD5B}"/>
                </a:ext>
              </a:extLst>
            </p:cNvPr>
            <p:cNvSpPr/>
            <p:nvPr userDrawn="1"/>
          </p:nvSpPr>
          <p:spPr>
            <a:xfrm>
              <a:off x="1" y="0"/>
              <a:ext cx="7356764" cy="931056"/>
            </a:xfrm>
            <a:prstGeom prst="rect">
              <a:avLst/>
            </a:prstGeom>
            <a:solidFill>
              <a:srgbClr val="2E8A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097"/>
            </a:p>
          </p:txBody>
        </p:sp>
        <p:sp>
          <p:nvSpPr>
            <p:cNvPr id="10" name="直角三角形 9">
              <a:extLst>
                <a:ext uri="{FF2B5EF4-FFF2-40B4-BE49-F238E27FC236}">
                  <a16:creationId xmlns:a16="http://schemas.microsoft.com/office/drawing/2014/main" id="{7BD76297-E9AF-A140-9C9B-330F13C90E5F}"/>
                </a:ext>
              </a:extLst>
            </p:cNvPr>
            <p:cNvSpPr/>
            <p:nvPr userDrawn="1"/>
          </p:nvSpPr>
          <p:spPr>
            <a:xfrm rot="5400000">
              <a:off x="7240386" y="116386"/>
              <a:ext cx="931055" cy="698291"/>
            </a:xfrm>
            <a:prstGeom prst="rtTriangle">
              <a:avLst/>
            </a:prstGeom>
            <a:solidFill>
              <a:srgbClr val="2E8A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097"/>
            </a:p>
          </p:txBody>
        </p:sp>
      </p:grp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0DE3237F-18DF-B044-8B92-F3F040E3A689}"/>
              </a:ext>
            </a:extLst>
          </p:cNvPr>
          <p:cNvSpPr/>
          <p:nvPr userDrawn="1"/>
        </p:nvSpPr>
        <p:spPr>
          <a:xfrm>
            <a:off x="7181850" y="6642000"/>
            <a:ext cx="2724150" cy="216010"/>
          </a:xfrm>
          <a:prstGeom prst="rect">
            <a:avLst/>
          </a:prstGeom>
          <a:solidFill>
            <a:srgbClr val="2E8A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097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584300" y="1196976"/>
            <a:ext cx="8697416" cy="1511300"/>
          </a:xfrm>
          <a:prstGeom prst="rect">
            <a:avLst/>
          </a:prstGeom>
        </p:spPr>
        <p:txBody>
          <a:bodyPr anchor="b"/>
          <a:lstStyle>
            <a:lvl1pPr algn="l">
              <a:defRPr sz="2600">
                <a:latin typeface="+mn-ea"/>
                <a:ea typeface="+mn-ea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584300" y="2960691"/>
            <a:ext cx="8697416" cy="74420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latin typeface="+mn-ea"/>
                <a:ea typeface="+mn-ea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pic>
        <p:nvPicPr>
          <p:cNvPr id="17" name="図 16">
            <a:extLst>
              <a:ext uri="{FF2B5EF4-FFF2-40B4-BE49-F238E27FC236}">
                <a16:creationId xmlns:a16="http://schemas.microsoft.com/office/drawing/2014/main" id="{58149EFB-8DCB-44D9-92A0-BD7E4520CF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548" y="5257800"/>
            <a:ext cx="3343275" cy="10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158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  <p15:guide id="2" pos="7196">
          <p15:clr>
            <a:srgbClr val="FBAE40"/>
          </p15:clr>
        </p15:guide>
        <p15:guide id="3" pos="453">
          <p15:clr>
            <a:srgbClr val="FBAE40"/>
          </p15:clr>
        </p15:guide>
        <p15:guide id="4" orient="horz" pos="3317">
          <p15:clr>
            <a:srgbClr val="FBAE40"/>
          </p15:clr>
        </p15:guide>
        <p15:guide id="5" orient="horz" pos="1706">
          <p15:clr>
            <a:srgbClr val="FBAE40"/>
          </p15:clr>
        </p15:guide>
        <p15:guide id="6" orient="horz" pos="1865">
          <p15:clr>
            <a:srgbClr val="FBAE40"/>
          </p15:clr>
        </p15:guide>
        <p15:guide id="7" orient="horz" pos="234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本文(プレゼンテーション用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グループ化 16"/>
          <p:cNvGrpSpPr/>
          <p:nvPr userDrawn="1"/>
        </p:nvGrpSpPr>
        <p:grpSpPr>
          <a:xfrm>
            <a:off x="3" y="1"/>
            <a:ext cx="8726313" cy="863996"/>
            <a:chOff x="1" y="0"/>
            <a:chExt cx="8055058" cy="931059"/>
          </a:xfrm>
        </p:grpSpPr>
        <p:sp>
          <p:nvSpPr>
            <p:cNvPr id="15" name="正方形/長方形 14">
              <a:extLst>
                <a:ext uri="{FF2B5EF4-FFF2-40B4-BE49-F238E27FC236}">
                  <a16:creationId xmlns:a16="http://schemas.microsoft.com/office/drawing/2014/main" id="{75B5599E-40D1-2D46-BFE0-5F784CAEDD5B}"/>
                </a:ext>
              </a:extLst>
            </p:cNvPr>
            <p:cNvSpPr/>
            <p:nvPr userDrawn="1"/>
          </p:nvSpPr>
          <p:spPr>
            <a:xfrm>
              <a:off x="1" y="0"/>
              <a:ext cx="7356764" cy="931056"/>
            </a:xfrm>
            <a:prstGeom prst="rect">
              <a:avLst/>
            </a:prstGeom>
            <a:solidFill>
              <a:srgbClr val="2E8A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097"/>
            </a:p>
          </p:txBody>
        </p:sp>
        <p:sp>
          <p:nvSpPr>
            <p:cNvPr id="16" name="直角三角形 15">
              <a:extLst>
                <a:ext uri="{FF2B5EF4-FFF2-40B4-BE49-F238E27FC236}">
                  <a16:creationId xmlns:a16="http://schemas.microsoft.com/office/drawing/2014/main" id="{7BD76297-E9AF-A140-9C9B-330F13C90E5F}"/>
                </a:ext>
              </a:extLst>
            </p:cNvPr>
            <p:cNvSpPr/>
            <p:nvPr userDrawn="1"/>
          </p:nvSpPr>
          <p:spPr>
            <a:xfrm rot="5400000">
              <a:off x="7240386" y="116386"/>
              <a:ext cx="931055" cy="698291"/>
            </a:xfrm>
            <a:prstGeom prst="rtTriangle">
              <a:avLst/>
            </a:prstGeom>
            <a:solidFill>
              <a:srgbClr val="2E8A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097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730" y="249817"/>
            <a:ext cx="7369789" cy="396000"/>
          </a:xfrm>
          <a:prstGeom prst="rect">
            <a:avLst/>
          </a:prstGeom>
        </p:spPr>
        <p:txBody>
          <a:bodyPr anchor="t"/>
          <a:lstStyle>
            <a:lvl1pPr>
              <a:defRPr sz="2275" b="1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1853" y="1113810"/>
            <a:ext cx="8736542" cy="5040312"/>
          </a:xfrm>
          <a:prstGeom prst="rect">
            <a:avLst/>
          </a:prstGeom>
        </p:spPr>
        <p:txBody>
          <a:bodyPr/>
          <a:lstStyle>
            <a:lvl1pPr marL="185738" indent="-185738">
              <a:buClr>
                <a:srgbClr val="002060"/>
              </a:buClr>
              <a:buFont typeface="Wingdings" panose="05000000000000000000" pitchFamily="2" charset="2"/>
              <a:buChar char="l"/>
              <a:defRPr sz="1950" b="1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  <a:lvl2pPr>
              <a:buClr>
                <a:srgbClr val="002060"/>
              </a:buClr>
              <a:defRPr sz="1625" b="0">
                <a:latin typeface="メイリオ" panose="020B0604030504040204" pitchFamily="50" charset="-128"/>
                <a:ea typeface="メイリオ" panose="020B0604030504040204" pitchFamily="50" charset="-128"/>
              </a:defRPr>
            </a:lvl2pPr>
            <a:lvl3pPr marL="928688" indent="-185738">
              <a:buClr>
                <a:srgbClr val="002060"/>
              </a:buClr>
              <a:buFont typeface="Wingdings" panose="05000000000000000000" pitchFamily="2" charset="2"/>
              <a:buChar char="Ø"/>
              <a:defRPr sz="1463" b="0">
                <a:latin typeface="メイリオ" panose="020B0604030504040204" pitchFamily="50" charset="-128"/>
                <a:ea typeface="メイリオ" panose="020B0604030504040204" pitchFamily="50" charset="-128"/>
              </a:defRPr>
            </a:lvl3pPr>
            <a:lvl4pPr>
              <a:buClr>
                <a:srgbClr val="002060"/>
              </a:buClr>
              <a:defRPr sz="1300" b="0">
                <a:latin typeface="メイリオ" panose="020B0604030504040204" pitchFamily="50" charset="-128"/>
                <a:ea typeface="メイリオ" panose="020B0604030504040204" pitchFamily="50" charset="-128"/>
              </a:defRPr>
            </a:lvl4pPr>
            <a:lvl5pPr>
              <a:buClr>
                <a:srgbClr val="002060"/>
              </a:buClr>
              <a:defRPr sz="1300" b="0"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D03DAB65-56EB-83BF-C4C3-7FD1D02A964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68335" y="117793"/>
            <a:ext cx="883193" cy="734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125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61">
          <p15:clr>
            <a:srgbClr val="FBAE40"/>
          </p15:clr>
        </p15:guide>
        <p15:guide id="3" pos="3659">
          <p15:clr>
            <a:srgbClr val="FBAE40"/>
          </p15:clr>
        </p15:guide>
        <p15:guide id="4" pos="7227">
          <p15:clr>
            <a:srgbClr val="FBAE40"/>
          </p15:clr>
        </p15:guide>
        <p15:guide id="5" orient="horz" pos="4020">
          <p15:clr>
            <a:srgbClr val="FBAE40"/>
          </p15:clr>
        </p15:guide>
        <p15:guide id="6" pos="4021">
          <p15:clr>
            <a:srgbClr val="FBAE40"/>
          </p15:clr>
        </p15:guide>
        <p15:guide id="7" pos="5533">
          <p15:clr>
            <a:srgbClr val="FBAE40"/>
          </p15:clr>
        </p15:guide>
        <p15:guide id="8" pos="2163">
          <p15:clr>
            <a:srgbClr val="FBAE40"/>
          </p15:clr>
        </p15:guide>
        <p15:guide id="9" orient="horz" pos="300">
          <p15:clr>
            <a:srgbClr val="FBAE40"/>
          </p15:clr>
        </p15:guide>
        <p15:guide id="10" orient="horz" pos="1207">
          <p15:clr>
            <a:srgbClr val="FBAE40"/>
          </p15:clr>
        </p15:guide>
        <p15:guide id="11" orient="horz" pos="3113">
          <p15:clr>
            <a:srgbClr val="FBAE40"/>
          </p15:clr>
        </p15:guide>
        <p15:guide id="12" orient="horz" pos="3566">
          <p15:clr>
            <a:srgbClr val="FBAE40"/>
          </p15:clr>
        </p15:guide>
        <p15:guide id="13" pos="7439">
          <p15:clr>
            <a:srgbClr val="FBAE40"/>
          </p15:clr>
        </p15:guide>
        <p15:guide id="14" orient="horz" pos="754">
          <p15:clr>
            <a:srgbClr val="FBAE40"/>
          </p15:clr>
        </p15:guide>
        <p15:guide id="15" orient="horz" pos="84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52033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10" imgW="270" imgH="270" progId="TCLayout.ActiveDocument.1">
                  <p:embed/>
                </p:oleObj>
              </mc:Choice>
              <mc:Fallback>
                <p:oleObj name="think-cellスライド" r:id="rId10" imgW="270" imgH="270" progId="TCLayout.ActiveDocument.1">
                  <p:embed/>
                  <p:pic>
                    <p:nvPicPr>
                      <p:cNvPr id="11" name="オブジェクト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9585715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/>
          </a:p>
        </p:txBody>
      </p:sp>
      <p:sp>
        <p:nvSpPr>
          <p:cNvPr id="14" name="Text Box 37"/>
          <p:cNvSpPr txBox="1">
            <a:spLocks noChangeArrowheads="1"/>
          </p:cNvSpPr>
          <p:nvPr userDrawn="1"/>
        </p:nvSpPr>
        <p:spPr bwMode="gray">
          <a:xfrm>
            <a:off x="5396400" y="6588000"/>
            <a:ext cx="4068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900" kern="1200">
                <a:solidFill>
                  <a:schemeClr val="tx2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26. For information, contact Social</a:t>
            </a:r>
            <a:r>
              <a:rPr lang="en-US" altLang="ja-JP" sz="900" kern="1200" baseline="0">
                <a:solidFill>
                  <a:schemeClr val="tx2"/>
                </a:solidFill>
                <a:latin typeface="Arial" charset="0"/>
                <a:ea typeface="ＭＳ Ｐゴシック" pitchFamily="50" charset="-128"/>
                <a:cs typeface="Arial" charset="0"/>
              </a:rPr>
              <a:t> Innovation Partners</a:t>
            </a:r>
            <a:endParaRPr lang="en-US" altLang="ja-JP" sz="900" kern="1200">
              <a:solidFill>
                <a:schemeClr val="tx2"/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9" name="Red stripe"/>
          <p:cNvSpPr/>
          <p:nvPr userDrawn="1"/>
        </p:nvSpPr>
        <p:spPr>
          <a:xfrm>
            <a:off x="414049" y="782689"/>
            <a:ext cx="9144000" cy="45719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rgbClr val="00A1DE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79974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9" r:id="rId2"/>
    <p:sldLayoutId id="2147483898" r:id="rId3"/>
    <p:sldLayoutId id="2147483911" r:id="rId4"/>
    <p:sldLayoutId id="2147483912" r:id="rId5"/>
    <p:sldLayoutId id="2147483913" r:id="rId6"/>
    <p:sldLayoutId id="2147483915" r:id="rId7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游ゴシック" panose="020B0400000000000000" pitchFamily="50" charset="-128"/>
          <a:ea typeface="游ゴシック" panose="020B0400000000000000" pitchFamily="50" charset="-128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游ゴシック" panose="020B0400000000000000" pitchFamily="50" charset="-128"/>
          <a:ea typeface="游ゴシック" panose="020B0400000000000000" pitchFamily="50" charset="-128"/>
          <a:cs typeface="Arial" pitchFamily="34" charset="0"/>
        </a:defRPr>
      </a:lvl1pPr>
      <a:lvl2pPr marL="171450" indent="-171450" algn="l" eaLnBrk="1" hangingPunct="1">
        <a:lnSpc>
          <a:spcPct val="106000"/>
        </a:lnSpc>
        <a:spcBef>
          <a:spcPts val="1056"/>
        </a:spcBef>
        <a:buFont typeface="Arial" panose="020B0604020202020204" pitchFamily="34" charset="0"/>
        <a:buChar char="•"/>
        <a:defRPr kumimoji="1" sz="1200">
          <a:solidFill>
            <a:schemeClr val="tx1"/>
          </a:solidFill>
          <a:latin typeface="游ゴシック" panose="020B0400000000000000" pitchFamily="50" charset="-128"/>
          <a:ea typeface="游ゴシック" panose="020B0400000000000000" pitchFamily="50" charset="-128"/>
          <a:cs typeface="Arial" pitchFamily="34" charset="0"/>
        </a:defRPr>
      </a:lvl2pPr>
      <a:lvl3pPr marL="344250" indent="-171450" algn="l" eaLnBrk="1" hangingPunct="1">
        <a:lnSpc>
          <a:spcPct val="106000"/>
        </a:lnSpc>
        <a:spcBef>
          <a:spcPts val="480"/>
        </a:spcBef>
        <a:buFont typeface="游ゴシック" panose="020B0400000000000000" pitchFamily="50" charset="-128"/>
        <a:buChar char="-"/>
        <a:defRPr kumimoji="1" sz="1200">
          <a:solidFill>
            <a:schemeClr val="tx1"/>
          </a:solidFill>
          <a:latin typeface="游ゴシック" panose="020B0400000000000000" pitchFamily="50" charset="-128"/>
          <a:ea typeface="游ゴシック" panose="020B0400000000000000" pitchFamily="50" charset="-128"/>
          <a:cs typeface="Arial" pitchFamily="34" charset="0"/>
        </a:defRPr>
      </a:lvl3pPr>
      <a:lvl4pPr marL="517050" indent="-171450" algn="l" eaLnBrk="1" hangingPunct="1">
        <a:lnSpc>
          <a:spcPct val="106000"/>
        </a:lnSpc>
        <a:spcBef>
          <a:spcPts val="240"/>
        </a:spcBef>
        <a:buFont typeface="Wingdings" panose="05000000000000000000" pitchFamily="2" charset="2"/>
        <a:buChar char="Ø"/>
        <a:defRPr kumimoji="1" sz="1200">
          <a:solidFill>
            <a:schemeClr val="tx1"/>
          </a:solidFill>
          <a:latin typeface="游ゴシック" panose="020B0400000000000000" pitchFamily="50" charset="-128"/>
          <a:ea typeface="游ゴシック" panose="020B0400000000000000" pitchFamily="50" charset="-128"/>
          <a:cs typeface="Arial" pitchFamily="34" charset="0"/>
        </a:defRPr>
      </a:lvl4pPr>
    </p:bodyStyle>
    <p:otherStyle/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492FD0-8164-378A-DECD-1FF4D1820A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E3163F0-1D10-E13B-F6F1-958BB1BF87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695" y="119866"/>
            <a:ext cx="9386968" cy="651600"/>
          </a:xfrm>
        </p:spPr>
        <p:txBody>
          <a:bodyPr/>
          <a:lstStyle/>
          <a:p>
            <a:r>
              <a:rPr lang="ja-JP" altLang="en-US" sz="1100">
                <a:latin typeface="游ゴシック"/>
                <a:ea typeface="游ゴシック"/>
                <a:cs typeface="Arial"/>
              </a:rPr>
              <a:t>様式</a:t>
            </a:r>
            <a:r>
              <a:rPr lang="en-US" altLang="ja-JP" sz="1100" dirty="0">
                <a:latin typeface="游ゴシック"/>
                <a:ea typeface="游ゴシック"/>
                <a:cs typeface="Arial"/>
              </a:rPr>
              <a:t>9</a:t>
            </a:r>
            <a:r>
              <a:rPr lang="ja-JP" altLang="en-US" sz="1100">
                <a:latin typeface="游ゴシック"/>
                <a:ea typeface="游ゴシック"/>
                <a:cs typeface="Arial"/>
              </a:rPr>
              <a:t>：事業の妥当性・社会性補足資料</a:t>
            </a:r>
            <a:br>
              <a:rPr lang="ja-JP" altLang="en-US" sz="1100" dirty="0"/>
            </a:br>
            <a:r>
              <a:rPr lang="ja-JP" altLang="en-US" sz="1600">
                <a:latin typeface="游ゴシック"/>
                <a:ea typeface="游ゴシック"/>
                <a:cs typeface="Arial"/>
              </a:rPr>
              <a:t>申請事業における当事者をとりまく全体像、就労に困難が生じる構造、本事業の注力領域での課題</a:t>
            </a:r>
            <a:endParaRPr lang="ja-JP" altLang="en-US" sz="1400">
              <a:latin typeface="游ゴシック"/>
              <a:ea typeface="游ゴシック"/>
              <a:cs typeface="Arial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28D0819-A9A6-0BBD-4D0A-FAE157AFCA4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354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B5F9AF53-F858-A440-8117-724A96330F6D}" type="slidenum">
              <a:rPr kumimoji="1" lang="ja-JP" altLang="en-US" smtClean="0"/>
              <a:pPr/>
              <a:t>1</a:t>
            </a:fld>
            <a:endParaRPr kumimoji="1" lang="ja-JP" altLang="en-US" sz="853"/>
          </a:p>
        </p:txBody>
      </p:sp>
      <p:sp>
        <p:nvSpPr>
          <p:cNvPr id="7" name="矢印: 五方向 6">
            <a:extLst>
              <a:ext uri="{FF2B5EF4-FFF2-40B4-BE49-F238E27FC236}">
                <a16:creationId xmlns:a16="http://schemas.microsoft.com/office/drawing/2014/main" id="{95D171B2-57B8-2E28-0809-7B53A826CCE2}"/>
              </a:ext>
            </a:extLst>
          </p:cNvPr>
          <p:cNvSpPr/>
          <p:nvPr/>
        </p:nvSpPr>
        <p:spPr>
          <a:xfrm>
            <a:off x="1485901" y="1290918"/>
            <a:ext cx="1108517" cy="648591"/>
          </a:xfrm>
          <a:prstGeom prst="homePlate">
            <a:avLst>
              <a:gd name="adj" fmla="val 26712"/>
            </a:avLst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ctr" anchorCtr="0"/>
          <a:lstStyle/>
          <a:p>
            <a:pPr algn="ctr"/>
            <a:r>
              <a:rPr kumimoji="1" lang="ja-JP" altLang="en-US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日常生活の安定</a:t>
            </a:r>
          </a:p>
        </p:txBody>
      </p:sp>
      <p:sp>
        <p:nvSpPr>
          <p:cNvPr id="8" name="矢印: 五方向 7">
            <a:extLst>
              <a:ext uri="{FF2B5EF4-FFF2-40B4-BE49-F238E27FC236}">
                <a16:creationId xmlns:a16="http://schemas.microsoft.com/office/drawing/2014/main" id="{1ED9676F-2F3A-9E63-C13D-3C70E0E2C8DA}"/>
              </a:ext>
            </a:extLst>
          </p:cNvPr>
          <p:cNvSpPr/>
          <p:nvPr/>
        </p:nvSpPr>
        <p:spPr>
          <a:xfrm>
            <a:off x="2643685" y="1290918"/>
            <a:ext cx="1108517" cy="648591"/>
          </a:xfrm>
          <a:prstGeom prst="homePlate">
            <a:avLst>
              <a:gd name="adj" fmla="val 26712"/>
            </a:avLst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ctr" anchorCtr="0"/>
          <a:lstStyle/>
          <a:p>
            <a:pPr algn="ctr"/>
            <a:r>
              <a:rPr kumimoji="1" lang="ja-JP" altLang="en-US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社会参加の促進</a:t>
            </a:r>
          </a:p>
        </p:txBody>
      </p:sp>
      <p:sp>
        <p:nvSpPr>
          <p:cNvPr id="9" name="矢印: 五方向 8">
            <a:extLst>
              <a:ext uri="{FF2B5EF4-FFF2-40B4-BE49-F238E27FC236}">
                <a16:creationId xmlns:a16="http://schemas.microsoft.com/office/drawing/2014/main" id="{B75B8E1C-F0D5-3527-4CBC-AF4D11058AB5}"/>
              </a:ext>
            </a:extLst>
          </p:cNvPr>
          <p:cNvSpPr/>
          <p:nvPr/>
        </p:nvSpPr>
        <p:spPr>
          <a:xfrm>
            <a:off x="3801469" y="1290918"/>
            <a:ext cx="1108517" cy="648591"/>
          </a:xfrm>
          <a:prstGeom prst="homePlate">
            <a:avLst>
              <a:gd name="adj" fmla="val 26712"/>
            </a:avLst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ctr" anchorCtr="0"/>
          <a:lstStyle/>
          <a:p>
            <a:pPr algn="ctr"/>
            <a:r>
              <a:rPr kumimoji="1" lang="ja-JP" altLang="en-US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就労準備</a:t>
            </a:r>
          </a:p>
        </p:txBody>
      </p:sp>
      <p:sp>
        <p:nvSpPr>
          <p:cNvPr id="10" name="矢印: 五方向 9">
            <a:extLst>
              <a:ext uri="{FF2B5EF4-FFF2-40B4-BE49-F238E27FC236}">
                <a16:creationId xmlns:a16="http://schemas.microsoft.com/office/drawing/2014/main" id="{CEB47B9B-EE67-1F95-9B6A-9087059597CC}"/>
              </a:ext>
            </a:extLst>
          </p:cNvPr>
          <p:cNvSpPr/>
          <p:nvPr/>
        </p:nvSpPr>
        <p:spPr>
          <a:xfrm>
            <a:off x="4959253" y="1290918"/>
            <a:ext cx="1108517" cy="648591"/>
          </a:xfrm>
          <a:prstGeom prst="homePlate">
            <a:avLst>
              <a:gd name="adj" fmla="val 26712"/>
            </a:avLst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ctr" anchorCtr="0"/>
          <a:lstStyle/>
          <a:p>
            <a:pPr algn="ctr"/>
            <a:r>
              <a:rPr kumimoji="1" lang="ja-JP" altLang="en-US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就労訓練・</a:t>
            </a:r>
            <a:br>
              <a:rPr kumimoji="1" lang="en-US" altLang="ja-JP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</a:br>
            <a:r>
              <a:rPr kumimoji="1" lang="ja-JP" altLang="en-US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マッチング</a:t>
            </a:r>
          </a:p>
        </p:txBody>
      </p:sp>
      <p:sp>
        <p:nvSpPr>
          <p:cNvPr id="11" name="矢印: 五方向 10">
            <a:extLst>
              <a:ext uri="{FF2B5EF4-FFF2-40B4-BE49-F238E27FC236}">
                <a16:creationId xmlns:a16="http://schemas.microsoft.com/office/drawing/2014/main" id="{255894E1-4DEA-4DF7-75F5-A08C42C81C9B}"/>
              </a:ext>
            </a:extLst>
          </p:cNvPr>
          <p:cNvSpPr/>
          <p:nvPr/>
        </p:nvSpPr>
        <p:spPr>
          <a:xfrm>
            <a:off x="6117037" y="1290918"/>
            <a:ext cx="1108517" cy="648591"/>
          </a:xfrm>
          <a:prstGeom prst="homePlate">
            <a:avLst>
              <a:gd name="adj" fmla="val 26712"/>
            </a:avLst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ctr" anchorCtr="0"/>
          <a:lstStyle/>
          <a:p>
            <a:pPr algn="ctr"/>
            <a:r>
              <a:rPr kumimoji="1" lang="ja-JP" altLang="en-US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就労定着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0FE98F3E-6A50-DAE9-75CD-7541F4CE0E0E}"/>
              </a:ext>
            </a:extLst>
          </p:cNvPr>
          <p:cNvSpPr/>
          <p:nvPr/>
        </p:nvSpPr>
        <p:spPr>
          <a:xfrm>
            <a:off x="416999" y="2126091"/>
            <a:ext cx="223977" cy="198989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ctr" anchorCtr="0"/>
          <a:lstStyle/>
          <a:p>
            <a:pPr algn="ctr"/>
            <a:r>
              <a:rPr kumimoji="1" lang="ja-JP" altLang="en-US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公的支援</a:t>
            </a: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D9CFF9BF-347B-8163-8172-0CFA558388CB}"/>
              </a:ext>
            </a:extLst>
          </p:cNvPr>
          <p:cNvSpPr/>
          <p:nvPr/>
        </p:nvSpPr>
        <p:spPr>
          <a:xfrm>
            <a:off x="416999" y="4285402"/>
            <a:ext cx="223977" cy="198989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ctr" anchorCtr="0"/>
          <a:lstStyle/>
          <a:p>
            <a:pPr algn="ctr"/>
            <a:r>
              <a:rPr kumimoji="1" lang="ja-JP" altLang="en-US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民間支援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CC39B8CF-1406-30A5-63D3-7D744A0E76B8}"/>
              </a:ext>
            </a:extLst>
          </p:cNvPr>
          <p:cNvSpPr/>
          <p:nvPr/>
        </p:nvSpPr>
        <p:spPr>
          <a:xfrm>
            <a:off x="728383" y="2126090"/>
            <a:ext cx="670112" cy="90352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ctr" anchorCtr="0"/>
          <a:lstStyle/>
          <a:p>
            <a:pPr algn="ctr"/>
            <a:r>
              <a:rPr kumimoji="1" lang="en-US" altLang="ja-JP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XX</a:t>
            </a:r>
            <a:r>
              <a:rPr kumimoji="1" lang="ja-JP" altLang="en-US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制度</a:t>
            </a: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FDC0B60B-5E3A-44D6-4EBF-6A0ECD480442}"/>
              </a:ext>
            </a:extLst>
          </p:cNvPr>
          <p:cNvSpPr/>
          <p:nvPr/>
        </p:nvSpPr>
        <p:spPr>
          <a:xfrm>
            <a:off x="728383" y="3212463"/>
            <a:ext cx="670112" cy="90352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ctr" anchorCtr="0"/>
          <a:lstStyle/>
          <a:p>
            <a:pPr algn="ctr"/>
            <a:r>
              <a:rPr kumimoji="1" lang="en-US" altLang="ja-JP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XX</a:t>
            </a:r>
            <a:r>
              <a:rPr kumimoji="1" lang="ja-JP" altLang="en-US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制度</a:t>
            </a: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043189BD-A959-9C3C-5A6C-CC41D9858608}"/>
              </a:ext>
            </a:extLst>
          </p:cNvPr>
          <p:cNvSpPr/>
          <p:nvPr/>
        </p:nvSpPr>
        <p:spPr>
          <a:xfrm>
            <a:off x="728383" y="4285400"/>
            <a:ext cx="670112" cy="90352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ctr" anchorCtr="0"/>
          <a:lstStyle/>
          <a:p>
            <a:pPr algn="ctr"/>
            <a:r>
              <a:rPr kumimoji="1" lang="en-US" altLang="ja-JP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XX</a:t>
            </a:r>
            <a:r>
              <a:rPr kumimoji="1" lang="ja-JP" altLang="en-US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系</a:t>
            </a:r>
            <a:br>
              <a:rPr kumimoji="1" lang="en-US" altLang="ja-JP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</a:br>
            <a:r>
              <a:rPr kumimoji="1" lang="ja-JP" altLang="en-US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サービス</a:t>
            </a: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81771723-502D-94DF-402A-21A356C299A4}"/>
              </a:ext>
            </a:extLst>
          </p:cNvPr>
          <p:cNvSpPr/>
          <p:nvPr/>
        </p:nvSpPr>
        <p:spPr>
          <a:xfrm>
            <a:off x="728383" y="5371773"/>
            <a:ext cx="670112" cy="90352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ctr" anchorCtr="0"/>
          <a:lstStyle/>
          <a:p>
            <a:pPr algn="ctr"/>
            <a:r>
              <a:rPr kumimoji="1" lang="en-US" altLang="ja-JP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XX</a:t>
            </a:r>
            <a:r>
              <a:rPr kumimoji="1" lang="ja-JP" altLang="en-US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系</a:t>
            </a:r>
            <a:br>
              <a:rPr kumimoji="1" lang="en-US" altLang="ja-JP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</a:br>
            <a:r>
              <a:rPr kumimoji="1" lang="ja-JP" altLang="en-US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サービス</a:t>
            </a:r>
          </a:p>
        </p:txBody>
      </p:sp>
      <p:cxnSp>
        <p:nvCxnSpPr>
          <p:cNvPr id="20" name="直線矢印コネクタ 19">
            <a:extLst>
              <a:ext uri="{FF2B5EF4-FFF2-40B4-BE49-F238E27FC236}">
                <a16:creationId xmlns:a16="http://schemas.microsoft.com/office/drawing/2014/main" id="{64956E62-3533-565C-DA48-67D7BDE2913C}"/>
              </a:ext>
            </a:extLst>
          </p:cNvPr>
          <p:cNvCxnSpPr/>
          <p:nvPr/>
        </p:nvCxnSpPr>
        <p:spPr>
          <a:xfrm>
            <a:off x="347499" y="1650555"/>
            <a:ext cx="245728" cy="0"/>
          </a:xfrm>
          <a:prstGeom prst="straightConnector1">
            <a:avLst/>
          </a:prstGeom>
          <a:ln w="19050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線矢印コネクタ 20">
            <a:extLst>
              <a:ext uri="{FF2B5EF4-FFF2-40B4-BE49-F238E27FC236}">
                <a16:creationId xmlns:a16="http://schemas.microsoft.com/office/drawing/2014/main" id="{752BFE1A-08B4-80E8-5556-2A0467CE6A01}"/>
              </a:ext>
            </a:extLst>
          </p:cNvPr>
          <p:cNvCxnSpPr/>
          <p:nvPr/>
        </p:nvCxnSpPr>
        <p:spPr>
          <a:xfrm>
            <a:off x="347499" y="1892403"/>
            <a:ext cx="245728" cy="0"/>
          </a:xfrm>
          <a:prstGeom prst="straightConnector1">
            <a:avLst/>
          </a:prstGeom>
          <a:ln w="19050">
            <a:solidFill>
              <a:schemeClr val="tx2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72A78E51-9EF8-0C10-32C7-F0288D2EFD72}"/>
              </a:ext>
            </a:extLst>
          </p:cNvPr>
          <p:cNvSpPr/>
          <p:nvPr/>
        </p:nvSpPr>
        <p:spPr>
          <a:xfrm>
            <a:off x="609644" y="1519494"/>
            <a:ext cx="810835" cy="28431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ctr" anchorCtr="0"/>
          <a:lstStyle/>
          <a:p>
            <a:pPr algn="ctr"/>
            <a:r>
              <a:rPr kumimoji="1" lang="ja-JP" altLang="en-US" sz="853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一定程度充足</a:t>
            </a: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716A21CE-0CDD-A854-8251-AC30756CBF09}"/>
              </a:ext>
            </a:extLst>
          </p:cNvPr>
          <p:cNvSpPr/>
          <p:nvPr/>
        </p:nvSpPr>
        <p:spPr>
          <a:xfrm>
            <a:off x="609644" y="1750246"/>
            <a:ext cx="810835" cy="28431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ctr" anchorCtr="0"/>
          <a:lstStyle/>
          <a:p>
            <a:pPr algn="ctr"/>
            <a:r>
              <a:rPr kumimoji="1" lang="ja-JP" altLang="en-US" sz="853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未充足</a:t>
            </a:r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B3B3072D-6748-2FF3-AA7D-8806993E5E15}"/>
              </a:ext>
            </a:extLst>
          </p:cNvPr>
          <p:cNvSpPr/>
          <p:nvPr/>
        </p:nvSpPr>
        <p:spPr>
          <a:xfrm>
            <a:off x="7373983" y="1290918"/>
            <a:ext cx="2391732" cy="15598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8500" tIns="58500" rIns="58500" bIns="58500" rtlCol="0" anchor="t" anchorCtr="0"/>
          <a:lstStyle/>
          <a:p>
            <a:r>
              <a:rPr kumimoji="1" lang="ja-JP" altLang="en-US" sz="975" u="sng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団体の注力領域で捉えている課題①</a:t>
            </a:r>
            <a:endParaRPr kumimoji="1" lang="en-US" altLang="ja-JP" sz="975" u="sng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endParaRPr kumimoji="1" lang="en-US" altLang="ja-JP" sz="975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L="139303" indent="-139303">
              <a:buFont typeface="Arial" panose="020B0604020202020204" pitchFamily="34" charset="0"/>
              <a:buChar char="•"/>
            </a:pPr>
            <a:r>
              <a:rPr kumimoji="1" lang="en-US" altLang="ja-JP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XX</a:t>
            </a:r>
          </a:p>
          <a:p>
            <a:pPr marL="139303" indent="-139303">
              <a:buFont typeface="Arial" panose="020B0604020202020204" pitchFamily="34" charset="0"/>
              <a:buChar char="•"/>
            </a:pPr>
            <a:r>
              <a:rPr kumimoji="1" lang="en-US" altLang="ja-JP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XX</a:t>
            </a:r>
            <a:endParaRPr kumimoji="1" lang="ja-JP" altLang="en-US" sz="975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29C989FF-D60E-3EB0-3EF3-3DE8A3689E1E}"/>
              </a:ext>
            </a:extLst>
          </p:cNvPr>
          <p:cNvSpPr/>
          <p:nvPr/>
        </p:nvSpPr>
        <p:spPr>
          <a:xfrm>
            <a:off x="7373983" y="3003144"/>
            <a:ext cx="2391732" cy="15598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8500" tIns="58500" rIns="58500" bIns="58500" rtlCol="0" anchor="t" anchorCtr="0"/>
          <a:lstStyle/>
          <a:p>
            <a:r>
              <a:rPr kumimoji="1" lang="ja-JP" altLang="en-US" sz="950" u="sng" dirty="0">
                <a:solidFill>
                  <a:schemeClr val="tx1"/>
                </a:solidFill>
                <a:latin typeface="游ゴシック"/>
                <a:ea typeface="游ゴシック"/>
              </a:rPr>
              <a:t>団体の注力領域で捉えている課題②</a:t>
            </a:r>
            <a:endParaRPr lang="en-US" altLang="ja-JP" sz="975" u="sng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endParaRPr kumimoji="1" lang="en-US" altLang="ja-JP" sz="975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L="139065" indent="-139065">
              <a:buFont typeface="Arial" panose="020B0604020202020204" pitchFamily="34" charset="0"/>
              <a:buChar char="•"/>
            </a:pPr>
            <a:r>
              <a:rPr kumimoji="1" lang="en-US" altLang="ja-JP" sz="950" dirty="0">
                <a:solidFill>
                  <a:schemeClr val="tx1"/>
                </a:solidFill>
                <a:latin typeface="游ゴシック"/>
                <a:ea typeface="游ゴシック"/>
              </a:rPr>
              <a:t>XX</a:t>
            </a:r>
            <a:endParaRPr lang="en-US" altLang="ja-JP" sz="950" dirty="0">
              <a:solidFill>
                <a:schemeClr val="tx1"/>
              </a:solidFill>
              <a:latin typeface="游ゴシック"/>
              <a:ea typeface="游ゴシック"/>
            </a:endParaRPr>
          </a:p>
          <a:p>
            <a:pPr marL="139065" indent="-139065">
              <a:buFont typeface="Arial" panose="020B0604020202020204" pitchFamily="34" charset="0"/>
              <a:buChar char="•"/>
            </a:pPr>
            <a:r>
              <a:rPr kumimoji="1" lang="en-US" altLang="ja-JP" sz="950" dirty="0">
                <a:solidFill>
                  <a:schemeClr val="tx1"/>
                </a:solidFill>
                <a:latin typeface="游ゴシック"/>
                <a:ea typeface="游ゴシック"/>
              </a:rPr>
              <a:t>XX</a:t>
            </a:r>
            <a:endParaRPr lang="ja-JP" altLang="en-US" sz="975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endParaRPr kumimoji="1" lang="en-US" altLang="ja-JP" sz="975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endParaRPr kumimoji="1" lang="en-US" altLang="ja-JP" sz="975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endParaRPr kumimoji="1" lang="en-US" altLang="ja-JP" sz="975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endParaRPr kumimoji="1" lang="en-US" altLang="ja-JP" sz="975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endParaRPr kumimoji="1" lang="en-US" altLang="ja-JP" sz="975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endParaRPr kumimoji="1" lang="en-US" altLang="ja-JP" sz="975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endParaRPr kumimoji="1" lang="en-US" altLang="ja-JP" sz="975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endParaRPr lang="ja-JP" altLang="en-US" sz="975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50" name="正方形/長方形 49">
            <a:extLst>
              <a:ext uri="{FF2B5EF4-FFF2-40B4-BE49-F238E27FC236}">
                <a16:creationId xmlns:a16="http://schemas.microsoft.com/office/drawing/2014/main" id="{99291915-DD18-8166-B051-CE1639365655}"/>
              </a:ext>
            </a:extLst>
          </p:cNvPr>
          <p:cNvSpPr/>
          <p:nvPr/>
        </p:nvSpPr>
        <p:spPr>
          <a:xfrm>
            <a:off x="7360215" y="4722255"/>
            <a:ext cx="2391732" cy="15598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8500" tIns="58500" rIns="58500" bIns="58500" rtlCol="0" anchor="t" anchorCtr="0"/>
          <a:lstStyle/>
          <a:p>
            <a:r>
              <a:rPr kumimoji="1" lang="ja-JP" altLang="en-US" sz="975" u="sng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団体の注力領域で捉えている課題③</a:t>
            </a:r>
            <a:endParaRPr kumimoji="1" lang="en-US" altLang="ja-JP" sz="975" u="sng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endParaRPr kumimoji="1" lang="en-US" altLang="ja-JP" sz="975" u="sng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L="139303" indent="-139303">
              <a:buFont typeface="Arial" panose="020B0604020202020204" pitchFamily="34" charset="0"/>
              <a:buChar char="•"/>
            </a:pPr>
            <a:r>
              <a:rPr kumimoji="1" lang="en-US" altLang="ja-JP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XX</a:t>
            </a:r>
          </a:p>
          <a:p>
            <a:pPr marL="139303" indent="-139303">
              <a:buFont typeface="Arial" panose="020B0604020202020204" pitchFamily="34" charset="0"/>
              <a:buChar char="•"/>
            </a:pPr>
            <a:r>
              <a:rPr kumimoji="1" lang="en-US" altLang="ja-JP" sz="975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XX</a:t>
            </a:r>
            <a:endParaRPr kumimoji="1" lang="ja-JP" altLang="en-US" sz="975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627657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C8B5FF-D0D3-8E1E-7D38-5BFA4129A3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F855F63-5F5C-E163-0FDD-0417FCB2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z="1200">
                <a:latin typeface="游ゴシック"/>
                <a:ea typeface="游ゴシック"/>
                <a:cs typeface="Arial"/>
              </a:rPr>
              <a:t>様式</a:t>
            </a:r>
            <a:r>
              <a:rPr lang="en-US" altLang="ja-JP" sz="1200" dirty="0">
                <a:latin typeface="游ゴシック"/>
                <a:ea typeface="游ゴシック"/>
                <a:cs typeface="Arial"/>
              </a:rPr>
              <a:t>9</a:t>
            </a:r>
            <a:r>
              <a:rPr lang="ja-JP" altLang="en-US" sz="1200">
                <a:latin typeface="游ゴシック"/>
                <a:ea typeface="游ゴシック"/>
                <a:cs typeface="Arial"/>
              </a:rPr>
              <a:t>：事業の妥当性・社会性補足資料</a:t>
            </a:r>
            <a:br>
              <a:rPr lang="en-US" altLang="ja-JP" sz="1200" dirty="0"/>
            </a:br>
            <a:r>
              <a:rPr kumimoji="1" lang="ja-JP" altLang="en-US" sz="1800">
                <a:latin typeface="游ゴシック"/>
                <a:ea typeface="游ゴシック"/>
                <a:cs typeface="Arial"/>
              </a:rPr>
              <a:t>先述の課題に</a:t>
            </a:r>
            <a:r>
              <a:rPr lang="ja-JP" altLang="en-US" sz="1800">
                <a:latin typeface="游ゴシック"/>
                <a:ea typeface="游ゴシック"/>
                <a:cs typeface="Arial"/>
              </a:rPr>
              <a:t>関する、本事業で</a:t>
            </a:r>
            <a:r>
              <a:rPr kumimoji="1" lang="ja-JP" altLang="en-US" sz="1800">
                <a:latin typeface="游ゴシック"/>
                <a:ea typeface="游ゴシック"/>
                <a:cs typeface="Arial"/>
              </a:rPr>
              <a:t>講じる打ち手（リーチ・支援）と、当事者の状態の変化</a:t>
            </a: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B19DB70E-BA4B-E9E0-E8B0-A1388F10528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354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B5F9AF53-F858-A440-8117-724A96330F6D}" type="slidenum">
              <a:rPr kumimoji="1" lang="ja-JP" altLang="en-US" smtClean="0"/>
              <a:pPr/>
              <a:t>2</a:t>
            </a:fld>
            <a:endParaRPr kumimoji="1" lang="ja-JP" altLang="en-US"/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18AF29E1-9F85-3C90-E155-2F16F75C1C0B}"/>
              </a:ext>
            </a:extLst>
          </p:cNvPr>
          <p:cNvGrpSpPr/>
          <p:nvPr/>
        </p:nvGrpSpPr>
        <p:grpSpPr>
          <a:xfrm>
            <a:off x="462522" y="1129553"/>
            <a:ext cx="9083261" cy="5226423"/>
            <a:chOff x="462522" y="1680883"/>
            <a:chExt cx="9083261" cy="4079009"/>
          </a:xfrm>
        </p:grpSpPr>
        <p:sp>
          <p:nvSpPr>
            <p:cNvPr id="13" name="矢印: 五方向 12">
              <a:extLst>
                <a:ext uri="{FF2B5EF4-FFF2-40B4-BE49-F238E27FC236}">
                  <a16:creationId xmlns:a16="http://schemas.microsoft.com/office/drawing/2014/main" id="{A00B3679-1E2C-56E6-BE49-89BA59F82B9E}"/>
                </a:ext>
              </a:extLst>
            </p:cNvPr>
            <p:cNvSpPr/>
            <p:nvPr/>
          </p:nvSpPr>
          <p:spPr>
            <a:xfrm rot="5400000">
              <a:off x="533507" y="1609898"/>
              <a:ext cx="910544" cy="1052513"/>
            </a:xfrm>
            <a:prstGeom prst="homePlate">
              <a:avLst>
                <a:gd name="adj" fmla="val 22566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58500" tIns="58500" rIns="58500" bIns="58500" rtlCol="0" anchor="ctr" anchorCtr="0"/>
            <a:lstStyle/>
            <a:p>
              <a:pPr algn="ctr"/>
              <a:r>
                <a:rPr kumimoji="1" lang="ja-JP" altLang="en-US" sz="100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対象当事者との</a:t>
              </a:r>
              <a:br>
                <a:rPr kumimoji="1" lang="en-US" altLang="ja-JP" sz="100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</a:br>
              <a:r>
                <a:rPr kumimoji="1" lang="ja-JP" altLang="en-US" sz="100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つながりかた</a:t>
              </a:r>
              <a:r>
                <a:rPr kumimoji="1" lang="ja-JP" altLang="en-US" sz="90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（リーチ方法）</a:t>
              </a:r>
            </a:p>
          </p:txBody>
        </p:sp>
        <p:sp>
          <p:nvSpPr>
            <p:cNvPr id="19" name="矢印: 五方向 18">
              <a:extLst>
                <a:ext uri="{FF2B5EF4-FFF2-40B4-BE49-F238E27FC236}">
                  <a16:creationId xmlns:a16="http://schemas.microsoft.com/office/drawing/2014/main" id="{141F9600-86CB-C043-DDFB-8C517F82730D}"/>
                </a:ext>
              </a:extLst>
            </p:cNvPr>
            <p:cNvSpPr/>
            <p:nvPr/>
          </p:nvSpPr>
          <p:spPr>
            <a:xfrm rot="5400000">
              <a:off x="533507" y="2666053"/>
              <a:ext cx="910544" cy="1052513"/>
            </a:xfrm>
            <a:prstGeom prst="homePlate">
              <a:avLst>
                <a:gd name="adj" fmla="val 22566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58500" tIns="58500" rIns="58500" bIns="58500" rtlCol="0" anchor="ctr" anchorCtr="0"/>
            <a:lstStyle/>
            <a:p>
              <a:pPr algn="ctr"/>
              <a:r>
                <a:rPr kumimoji="1" lang="ja-JP" altLang="en-US" sz="100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支援の内容</a:t>
              </a:r>
              <a:endParaRPr kumimoji="1" lang="ja-JP" altLang="en-US" sz="90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20" name="矢印: 五方向 19">
              <a:extLst>
                <a:ext uri="{FF2B5EF4-FFF2-40B4-BE49-F238E27FC236}">
                  <a16:creationId xmlns:a16="http://schemas.microsoft.com/office/drawing/2014/main" id="{1EFC0ED8-4F92-632F-9CCE-389B2CB1222A}"/>
                </a:ext>
              </a:extLst>
            </p:cNvPr>
            <p:cNvSpPr/>
            <p:nvPr/>
          </p:nvSpPr>
          <p:spPr>
            <a:xfrm rot="5400000">
              <a:off x="533507" y="3722208"/>
              <a:ext cx="910544" cy="1052513"/>
            </a:xfrm>
            <a:prstGeom prst="homePlate">
              <a:avLst>
                <a:gd name="adj" fmla="val 22566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58500" tIns="58500" rIns="58500" bIns="58500" rtlCol="0" anchor="ctr" anchorCtr="0"/>
            <a:lstStyle/>
            <a:p>
              <a:pPr algn="ctr"/>
              <a:r>
                <a:rPr kumimoji="1" lang="ja-JP" altLang="en-US" sz="100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支援直後の</a:t>
              </a:r>
              <a:endParaRPr kumimoji="1" lang="en-US" altLang="ja-JP" sz="100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  <a:p>
              <a:pPr algn="ctr"/>
              <a:r>
                <a:rPr kumimoji="1" lang="ja-JP" altLang="en-US" sz="100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当事者の状況</a:t>
              </a:r>
              <a:endParaRPr kumimoji="1" lang="ja-JP" altLang="en-US" sz="90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21" name="矢印: 五方向 20">
              <a:extLst>
                <a:ext uri="{FF2B5EF4-FFF2-40B4-BE49-F238E27FC236}">
                  <a16:creationId xmlns:a16="http://schemas.microsoft.com/office/drawing/2014/main" id="{744B873D-5AAB-3400-B178-C9E2859DEA9A}"/>
                </a:ext>
              </a:extLst>
            </p:cNvPr>
            <p:cNvSpPr/>
            <p:nvPr/>
          </p:nvSpPr>
          <p:spPr>
            <a:xfrm rot="5400000">
              <a:off x="533507" y="4778363"/>
              <a:ext cx="910544" cy="1052513"/>
            </a:xfrm>
            <a:prstGeom prst="homePlate">
              <a:avLst>
                <a:gd name="adj" fmla="val 22566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58500" tIns="58500" rIns="58500" bIns="58500" rtlCol="0" anchor="ctr" anchorCtr="0"/>
            <a:lstStyle/>
            <a:p>
              <a:pPr algn="ctr"/>
              <a:r>
                <a:rPr kumimoji="1" lang="ja-JP" altLang="en-US" sz="100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支援から暫く</a:t>
              </a:r>
              <a:br>
                <a:rPr kumimoji="1" lang="en-US" altLang="ja-JP" sz="100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</a:br>
              <a:r>
                <a:rPr kumimoji="1" lang="ja-JP" altLang="en-US" sz="100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経過後の</a:t>
              </a:r>
              <a:br>
                <a:rPr kumimoji="1" lang="en-US" altLang="ja-JP" sz="100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</a:br>
              <a:r>
                <a:rPr kumimoji="1" lang="ja-JP" altLang="en-US" sz="100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当事者状況</a:t>
              </a:r>
              <a:endParaRPr kumimoji="1" lang="ja-JP" altLang="en-US" sz="90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22" name="正方形/長方形 21">
              <a:extLst>
                <a:ext uri="{FF2B5EF4-FFF2-40B4-BE49-F238E27FC236}">
                  <a16:creationId xmlns:a16="http://schemas.microsoft.com/office/drawing/2014/main" id="{365AAFA6-7FD1-D76C-86E6-6BCE6B30F6E6}"/>
                </a:ext>
              </a:extLst>
            </p:cNvPr>
            <p:cNvSpPr/>
            <p:nvPr/>
          </p:nvSpPr>
          <p:spPr>
            <a:xfrm>
              <a:off x="1733551" y="1680883"/>
              <a:ext cx="7812232" cy="910544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8500" tIns="58500" rIns="58500" bIns="58500" rtlCol="0" anchor="t" anchorCtr="0"/>
            <a:lstStyle/>
            <a:p>
              <a:pPr marL="139303" indent="-139303">
                <a:spcBef>
                  <a:spcPts val="488"/>
                </a:spcBef>
                <a:buFont typeface="Arial" panose="020B0604020202020204" pitchFamily="34" charset="0"/>
                <a:buChar char="•"/>
              </a:pPr>
              <a:r>
                <a:rPr kumimoji="1" lang="en-US" altLang="ja-JP" sz="100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XXX</a:t>
              </a:r>
            </a:p>
            <a:p>
              <a:pPr marL="139303" indent="-139303">
                <a:spcBef>
                  <a:spcPts val="488"/>
                </a:spcBef>
                <a:buFont typeface="Arial" panose="020B0604020202020204" pitchFamily="34" charset="0"/>
                <a:buChar char="•"/>
              </a:pPr>
              <a:r>
                <a:rPr kumimoji="1" lang="en-US" altLang="ja-JP" sz="100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XXX</a:t>
              </a:r>
            </a:p>
            <a:p>
              <a:pPr marL="139303" indent="-139303">
                <a:spcBef>
                  <a:spcPts val="488"/>
                </a:spcBef>
                <a:buFont typeface="Arial" panose="020B0604020202020204" pitchFamily="34" charset="0"/>
                <a:buChar char="•"/>
              </a:pPr>
              <a:endParaRPr kumimoji="1" lang="ja-JP" altLang="en-US" sz="100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1AFA38C6-C4A5-5E5E-360C-59D97A55E923}"/>
                </a:ext>
              </a:extLst>
            </p:cNvPr>
            <p:cNvSpPr/>
            <p:nvPr/>
          </p:nvSpPr>
          <p:spPr>
            <a:xfrm>
              <a:off x="1733551" y="2737038"/>
              <a:ext cx="7812232" cy="910544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8500" tIns="58500" rIns="58500" bIns="58500" rtlCol="0" anchor="t" anchorCtr="0"/>
            <a:lstStyle/>
            <a:p>
              <a:pPr marL="139303" indent="-139303">
                <a:spcBef>
                  <a:spcPts val="488"/>
                </a:spcBef>
                <a:buFont typeface="Arial" panose="020B0604020202020204" pitchFamily="34" charset="0"/>
                <a:buChar char="•"/>
              </a:pPr>
              <a:r>
                <a:rPr kumimoji="1" lang="en-US" altLang="ja-JP" sz="100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XXX</a:t>
              </a:r>
            </a:p>
            <a:p>
              <a:pPr marL="139303" indent="-139303">
                <a:spcBef>
                  <a:spcPts val="488"/>
                </a:spcBef>
                <a:buFont typeface="Arial" panose="020B0604020202020204" pitchFamily="34" charset="0"/>
                <a:buChar char="•"/>
              </a:pPr>
              <a:r>
                <a:rPr kumimoji="1" lang="en-US" altLang="ja-JP" sz="100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XXX</a:t>
              </a:r>
            </a:p>
            <a:p>
              <a:pPr marL="139303" indent="-139303">
                <a:spcBef>
                  <a:spcPts val="488"/>
                </a:spcBef>
                <a:buFont typeface="Arial" panose="020B0604020202020204" pitchFamily="34" charset="0"/>
                <a:buChar char="•"/>
              </a:pPr>
              <a:endParaRPr kumimoji="1" lang="ja-JP" altLang="en-US" sz="100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24" name="正方形/長方形 23">
              <a:extLst>
                <a:ext uri="{FF2B5EF4-FFF2-40B4-BE49-F238E27FC236}">
                  <a16:creationId xmlns:a16="http://schemas.microsoft.com/office/drawing/2014/main" id="{AED31B9B-7B8B-9172-AA99-69E4F38BD8D1}"/>
                </a:ext>
              </a:extLst>
            </p:cNvPr>
            <p:cNvSpPr/>
            <p:nvPr/>
          </p:nvSpPr>
          <p:spPr>
            <a:xfrm>
              <a:off x="1733551" y="3793193"/>
              <a:ext cx="7812232" cy="910544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8500" tIns="58500" rIns="58500" bIns="58500" rtlCol="0" anchor="t" anchorCtr="0"/>
            <a:lstStyle/>
            <a:p>
              <a:pPr marL="139303" indent="-139303">
                <a:spcBef>
                  <a:spcPts val="488"/>
                </a:spcBef>
                <a:buFont typeface="Arial" panose="020B0604020202020204" pitchFamily="34" charset="0"/>
                <a:buChar char="•"/>
              </a:pPr>
              <a:r>
                <a:rPr kumimoji="1" lang="en-US" altLang="ja-JP" sz="100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XXX</a:t>
              </a:r>
            </a:p>
            <a:p>
              <a:pPr marL="139303" indent="-139303">
                <a:spcBef>
                  <a:spcPts val="488"/>
                </a:spcBef>
                <a:buFont typeface="Arial" panose="020B0604020202020204" pitchFamily="34" charset="0"/>
                <a:buChar char="•"/>
              </a:pPr>
              <a:r>
                <a:rPr kumimoji="1" lang="en-US" altLang="ja-JP" sz="100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XXX</a:t>
              </a:r>
            </a:p>
            <a:p>
              <a:pPr marL="139303" indent="-139303">
                <a:spcBef>
                  <a:spcPts val="488"/>
                </a:spcBef>
                <a:buFont typeface="Arial" panose="020B0604020202020204" pitchFamily="34" charset="0"/>
                <a:buChar char="•"/>
              </a:pPr>
              <a:endParaRPr kumimoji="1" lang="ja-JP" altLang="en-US" sz="100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25" name="正方形/長方形 24">
              <a:extLst>
                <a:ext uri="{FF2B5EF4-FFF2-40B4-BE49-F238E27FC236}">
                  <a16:creationId xmlns:a16="http://schemas.microsoft.com/office/drawing/2014/main" id="{2D4FA321-C61D-13A3-8E05-D8ADCD3D49E6}"/>
                </a:ext>
              </a:extLst>
            </p:cNvPr>
            <p:cNvSpPr/>
            <p:nvPr/>
          </p:nvSpPr>
          <p:spPr>
            <a:xfrm>
              <a:off x="1733551" y="4849348"/>
              <a:ext cx="7812232" cy="910544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8500" tIns="58500" rIns="58500" bIns="58500" rtlCol="0" anchor="t" anchorCtr="0"/>
            <a:lstStyle/>
            <a:p>
              <a:pPr>
                <a:spcBef>
                  <a:spcPts val="488"/>
                </a:spcBef>
              </a:pPr>
              <a:r>
                <a:rPr kumimoji="1" lang="ja-JP" altLang="en-US" sz="100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（もし継続的な定点調査などをされていれば）</a:t>
              </a:r>
              <a:endParaRPr kumimoji="1" lang="en-US" altLang="ja-JP" sz="100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  <a:p>
              <a:pPr marL="139303" indent="-139303">
                <a:spcBef>
                  <a:spcPts val="488"/>
                </a:spcBef>
                <a:buFont typeface="Arial" panose="020B0604020202020204" pitchFamily="34" charset="0"/>
                <a:buChar char="•"/>
              </a:pPr>
              <a:r>
                <a:rPr kumimoji="1" lang="en-US" altLang="ja-JP" sz="100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XXX</a:t>
              </a:r>
            </a:p>
            <a:p>
              <a:pPr marL="139303" indent="-139303">
                <a:spcBef>
                  <a:spcPts val="488"/>
                </a:spcBef>
                <a:buFont typeface="Arial" panose="020B0604020202020204" pitchFamily="34" charset="0"/>
                <a:buChar char="•"/>
              </a:pPr>
              <a:r>
                <a:rPr kumimoji="1" lang="en-US" altLang="ja-JP" sz="100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XXX</a:t>
              </a:r>
            </a:p>
            <a:p>
              <a:pPr marL="139303" indent="-139303">
                <a:spcBef>
                  <a:spcPts val="488"/>
                </a:spcBef>
                <a:buFont typeface="Arial" panose="020B0604020202020204" pitchFamily="34" charset="0"/>
                <a:buChar char="•"/>
              </a:pPr>
              <a:endParaRPr kumimoji="1" lang="ja-JP" altLang="en-US" sz="100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94852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ohmatsu Proposal Template_J（DTFA）_20140601">
  <a:themeElements>
    <a:clrScheme name="アーバン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A04DA3"/>
      </a:accent3>
      <a:accent4>
        <a:srgbClr val="C4652D"/>
      </a:accent4>
      <a:accent5>
        <a:srgbClr val="8B5D3D"/>
      </a:accent5>
      <a:accent6>
        <a:srgbClr val="5C92B5"/>
      </a:accent6>
      <a:hlink>
        <a:srgbClr val="67AFBD"/>
      </a:hlink>
      <a:folHlink>
        <a:srgbClr val="C2A874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noFill/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7FF8F33CB57B5D44AD06DCEB42875E94" ma:contentTypeVersion="11" ma:contentTypeDescription="新しいドキュメントを作成します。" ma:contentTypeScope="" ma:versionID="fba5b325a3a8ef806b7af8e3126e01e9">
  <xsd:schema xmlns:xsd="http://www.w3.org/2001/XMLSchema" xmlns:xs="http://www.w3.org/2001/XMLSchema" xmlns:p="http://schemas.microsoft.com/office/2006/metadata/properties" xmlns:ns3="b6d4cb16-a93f-498c-8748-54353af56476" xmlns:ns4="c6b5a638-e20e-4a03-9300-8764f1b12f73" targetNamespace="http://schemas.microsoft.com/office/2006/metadata/properties" ma:root="true" ma:fieldsID="83751f31a2995a663f06dd85d17dcb56" ns3:_="" ns4:_="">
    <xsd:import namespace="b6d4cb16-a93f-498c-8748-54353af56476"/>
    <xsd:import namespace="c6b5a638-e20e-4a03-9300-8764f1b12f73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d4cb16-a93f-498c-8748-54353af5647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共有のヒントのハッシュ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b5a638-e20e-4a03-9300-8764f1b12f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810D75-CCF6-483B-965C-EB18F9989D81}">
  <ds:schemaRefs>
    <ds:schemaRef ds:uri="b6d4cb16-a93f-498c-8748-54353af56476"/>
    <ds:schemaRef ds:uri="c6b5a638-e20e-4a03-9300-8764f1b12f7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9484519-1E0D-49A3-A441-D6D62778BAE9}">
  <ds:schemaRefs>
    <ds:schemaRef ds:uri="b6d4cb16-a93f-498c-8748-54353af56476"/>
    <ds:schemaRef ds:uri="c6b5a638-e20e-4a03-9300-8764f1b12f7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39091D0-4110-4FF5-8034-336546945D1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和文テンプレート_jan2012</Template>
  <TotalTime>207</TotalTime>
  <Words>188</Words>
  <Application>Microsoft Office PowerPoint</Application>
  <PresentationFormat>A4 210 x 297 mm</PresentationFormat>
  <Paragraphs>50</Paragraphs>
  <Slides>2</Slides>
  <Notes>1</Notes>
  <HiddenSlides>0</HiddenSlides>
  <MMClips>0</MMClips>
  <ScaleCrop>false</ScaleCrop>
  <HeadingPairs>
    <vt:vector size="4" baseType="variant">
      <vt:variant>
        <vt:lpstr>テーマ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3" baseType="lpstr">
      <vt:lpstr>Tohmatsu Proposal Template_J（DTFA）_20140601</vt:lpstr>
      <vt:lpstr>様式9：事業の妥当性・社会性補足資料 申請事業における当事者をとりまく全体像、就労に困難が生じる構造、本事業の注力領域での課題</vt:lpstr>
      <vt:lpstr>様式9：事業の妥当性・社会性補足資料 先述の課題に関する、本事業で講じる打ち手（リーチ・支援）と、当事者の状態の変化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50130_SIP休眠預金事業公募説明会_住宅確保困難者向け事業モデルの構築支援事業</dc:title>
  <dc:creator>今村翔</dc:creator>
  <cp:lastModifiedBy>Saki Watanabe</cp:lastModifiedBy>
  <cp:revision>171</cp:revision>
  <dcterms:created xsi:type="dcterms:W3CDTF">2013-03-14T03:44:27Z</dcterms:created>
  <dcterms:modified xsi:type="dcterms:W3CDTF">2026-02-19T07:13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F8F33CB57B5D44AD06DCEB42875E94</vt:lpwstr>
  </property>
</Properties>
</file>